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1.xml" ContentType="application/vnd.openxmlformats-officedocument.presentationml.notesSlide+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63.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89.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35.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14.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3.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3.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1" r:id="rId6"/>
    <p:sldId id="422" r:id="rId7"/>
    <p:sldId id="416" r:id="rId8"/>
    <p:sldId id="423" r:id="rId9"/>
    <p:sldId id="424" r:id="rId10"/>
    <p:sldId id="412" r:id="rId11"/>
    <p:sldId id="302" r:id="rId12"/>
    <p:sldId id="419"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100" d="100"/>
          <a:sy n="100" d="100"/>
        </p:scale>
        <p:origin x="-96" y="-126"/>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087</c:v>
                </c:pt>
                <c:pt idx="1">
                  <c:v>40088</c:v>
                </c:pt>
                <c:pt idx="2">
                  <c:v>40091</c:v>
                </c:pt>
                <c:pt idx="3">
                  <c:v>40092</c:v>
                </c:pt>
                <c:pt idx="4">
                  <c:v>40093</c:v>
                </c:pt>
                <c:pt idx="5">
                  <c:v>40094</c:v>
                </c:pt>
                <c:pt idx="6">
                  <c:v>40095</c:v>
                </c:pt>
                <c:pt idx="7">
                  <c:v>40098</c:v>
                </c:pt>
                <c:pt idx="8">
                  <c:v>40099</c:v>
                </c:pt>
                <c:pt idx="9">
                  <c:v>40100</c:v>
                </c:pt>
                <c:pt idx="10">
                  <c:v>40101</c:v>
                </c:pt>
                <c:pt idx="11">
                  <c:v>40102</c:v>
                </c:pt>
                <c:pt idx="12">
                  <c:v>40105</c:v>
                </c:pt>
                <c:pt idx="13">
                  <c:v>40106</c:v>
                </c:pt>
                <c:pt idx="14">
                  <c:v>40107</c:v>
                </c:pt>
                <c:pt idx="15">
                  <c:v>40108</c:v>
                </c:pt>
                <c:pt idx="16">
                  <c:v>40109</c:v>
                </c:pt>
                <c:pt idx="17">
                  <c:v>40112</c:v>
                </c:pt>
                <c:pt idx="18">
                  <c:v>40113</c:v>
                </c:pt>
                <c:pt idx="19">
                  <c:v>40114</c:v>
                </c:pt>
                <c:pt idx="20">
                  <c:v>40115</c:v>
                </c:pt>
                <c:pt idx="21">
                  <c:v>40116</c:v>
                </c:pt>
                <c:pt idx="22">
                  <c:v>40119</c:v>
                </c:pt>
                <c:pt idx="23">
                  <c:v>40120</c:v>
                </c:pt>
                <c:pt idx="24">
                  <c:v>40121</c:v>
                </c:pt>
                <c:pt idx="25">
                  <c:v>40122</c:v>
                </c:pt>
                <c:pt idx="26">
                  <c:v>40123</c:v>
                </c:pt>
                <c:pt idx="27">
                  <c:v>40126</c:v>
                </c:pt>
                <c:pt idx="28">
                  <c:v>40127</c:v>
                </c:pt>
                <c:pt idx="29">
                  <c:v>40128</c:v>
                </c:pt>
                <c:pt idx="30">
                  <c:v>40129</c:v>
                </c:pt>
                <c:pt idx="31">
                  <c:v>40130</c:v>
                </c:pt>
                <c:pt idx="32">
                  <c:v>40133</c:v>
                </c:pt>
                <c:pt idx="33">
                  <c:v>40134</c:v>
                </c:pt>
                <c:pt idx="34">
                  <c:v>40135</c:v>
                </c:pt>
                <c:pt idx="35">
                  <c:v>40136</c:v>
                </c:pt>
                <c:pt idx="36">
                  <c:v>40137</c:v>
                </c:pt>
                <c:pt idx="37">
                  <c:v>40140</c:v>
                </c:pt>
                <c:pt idx="38">
                  <c:v>40141</c:v>
                </c:pt>
                <c:pt idx="39">
                  <c:v>40142</c:v>
                </c:pt>
                <c:pt idx="40">
                  <c:v>40143</c:v>
                </c:pt>
                <c:pt idx="41">
                  <c:v>40144</c:v>
                </c:pt>
                <c:pt idx="42">
                  <c:v>40147</c:v>
                </c:pt>
                <c:pt idx="43">
                  <c:v>40148</c:v>
                </c:pt>
                <c:pt idx="44">
                  <c:v>40149</c:v>
                </c:pt>
                <c:pt idx="45">
                  <c:v>40150</c:v>
                </c:pt>
                <c:pt idx="46">
                  <c:v>40151</c:v>
                </c:pt>
                <c:pt idx="47">
                  <c:v>40154</c:v>
                </c:pt>
                <c:pt idx="48">
                  <c:v>40155</c:v>
                </c:pt>
                <c:pt idx="49">
                  <c:v>40156</c:v>
                </c:pt>
                <c:pt idx="50">
                  <c:v>40157</c:v>
                </c:pt>
                <c:pt idx="51">
                  <c:v>40158</c:v>
                </c:pt>
                <c:pt idx="52">
                  <c:v>40161</c:v>
                </c:pt>
                <c:pt idx="53">
                  <c:v>40162</c:v>
                </c:pt>
                <c:pt idx="54">
                  <c:v>40163</c:v>
                </c:pt>
                <c:pt idx="55">
                  <c:v>40164</c:v>
                </c:pt>
                <c:pt idx="56">
                  <c:v>40165</c:v>
                </c:pt>
                <c:pt idx="57">
                  <c:v>40168</c:v>
                </c:pt>
                <c:pt idx="58">
                  <c:v>40169</c:v>
                </c:pt>
                <c:pt idx="59">
                  <c:v>40170</c:v>
                </c:pt>
                <c:pt idx="60">
                  <c:v>40171</c:v>
                </c:pt>
                <c:pt idx="61">
                  <c:v>40175</c:v>
                </c:pt>
                <c:pt idx="62">
                  <c:v>40176</c:v>
                </c:pt>
                <c:pt idx="63">
                  <c:v>40177</c:v>
                </c:pt>
                <c:pt idx="64">
                  <c:v>40178</c:v>
                </c:pt>
                <c:pt idx="65">
                  <c:v>40182</c:v>
                </c:pt>
                <c:pt idx="66">
                  <c:v>40183</c:v>
                </c:pt>
                <c:pt idx="67">
                  <c:v>40184</c:v>
                </c:pt>
                <c:pt idx="68">
                  <c:v>40185</c:v>
                </c:pt>
                <c:pt idx="69">
                  <c:v>40186</c:v>
                </c:pt>
                <c:pt idx="70">
                  <c:v>40189</c:v>
                </c:pt>
                <c:pt idx="71">
                  <c:v>40190</c:v>
                </c:pt>
                <c:pt idx="72">
                  <c:v>40191</c:v>
                </c:pt>
                <c:pt idx="73">
                  <c:v>40192</c:v>
                </c:pt>
                <c:pt idx="74">
                  <c:v>40193</c:v>
                </c:pt>
                <c:pt idx="75">
                  <c:v>40196</c:v>
                </c:pt>
                <c:pt idx="76">
                  <c:v>40197</c:v>
                </c:pt>
                <c:pt idx="77">
                  <c:v>40198</c:v>
                </c:pt>
                <c:pt idx="78">
                  <c:v>40199</c:v>
                </c:pt>
                <c:pt idx="79">
                  <c:v>40200</c:v>
                </c:pt>
                <c:pt idx="80">
                  <c:v>40203</c:v>
                </c:pt>
                <c:pt idx="81">
                  <c:v>40204</c:v>
                </c:pt>
                <c:pt idx="82">
                  <c:v>40205</c:v>
                </c:pt>
                <c:pt idx="83">
                  <c:v>40206</c:v>
                </c:pt>
                <c:pt idx="84">
                  <c:v>40207</c:v>
                </c:pt>
                <c:pt idx="85">
                  <c:v>40210</c:v>
                </c:pt>
                <c:pt idx="86">
                  <c:v>40211</c:v>
                </c:pt>
                <c:pt idx="87">
                  <c:v>40212</c:v>
                </c:pt>
                <c:pt idx="88">
                  <c:v>40213</c:v>
                </c:pt>
                <c:pt idx="89">
                  <c:v>40214</c:v>
                </c:pt>
                <c:pt idx="90">
                  <c:v>40217</c:v>
                </c:pt>
                <c:pt idx="91">
                  <c:v>40218</c:v>
                </c:pt>
                <c:pt idx="92">
                  <c:v>40219</c:v>
                </c:pt>
                <c:pt idx="93">
                  <c:v>40220</c:v>
                </c:pt>
                <c:pt idx="94">
                  <c:v>40221</c:v>
                </c:pt>
                <c:pt idx="95">
                  <c:v>40224</c:v>
                </c:pt>
                <c:pt idx="96">
                  <c:v>40225</c:v>
                </c:pt>
                <c:pt idx="97">
                  <c:v>40226</c:v>
                </c:pt>
                <c:pt idx="98">
                  <c:v>40227</c:v>
                </c:pt>
                <c:pt idx="99">
                  <c:v>40228</c:v>
                </c:pt>
                <c:pt idx="100">
                  <c:v>40231</c:v>
                </c:pt>
                <c:pt idx="101">
                  <c:v>40232</c:v>
                </c:pt>
                <c:pt idx="102">
                  <c:v>40233</c:v>
                </c:pt>
                <c:pt idx="103">
                  <c:v>40234</c:v>
                </c:pt>
                <c:pt idx="104">
                  <c:v>40235</c:v>
                </c:pt>
                <c:pt idx="105">
                  <c:v>40238</c:v>
                </c:pt>
                <c:pt idx="106">
                  <c:v>40239</c:v>
                </c:pt>
                <c:pt idx="107">
                  <c:v>40240</c:v>
                </c:pt>
                <c:pt idx="108">
                  <c:v>40241</c:v>
                </c:pt>
                <c:pt idx="109">
                  <c:v>40242</c:v>
                </c:pt>
                <c:pt idx="110">
                  <c:v>40245</c:v>
                </c:pt>
                <c:pt idx="111">
                  <c:v>40246</c:v>
                </c:pt>
                <c:pt idx="112">
                  <c:v>40247</c:v>
                </c:pt>
                <c:pt idx="113">
                  <c:v>40248</c:v>
                </c:pt>
                <c:pt idx="114">
                  <c:v>40249</c:v>
                </c:pt>
                <c:pt idx="115">
                  <c:v>40252</c:v>
                </c:pt>
                <c:pt idx="116">
                  <c:v>40253</c:v>
                </c:pt>
                <c:pt idx="117">
                  <c:v>40254</c:v>
                </c:pt>
                <c:pt idx="118">
                  <c:v>40255</c:v>
                </c:pt>
                <c:pt idx="119">
                  <c:v>40256</c:v>
                </c:pt>
                <c:pt idx="120">
                  <c:v>40259</c:v>
                </c:pt>
                <c:pt idx="121">
                  <c:v>40260</c:v>
                </c:pt>
                <c:pt idx="122">
                  <c:v>40261</c:v>
                </c:pt>
                <c:pt idx="123">
                  <c:v>40262</c:v>
                </c:pt>
                <c:pt idx="124">
                  <c:v>40263</c:v>
                </c:pt>
                <c:pt idx="125">
                  <c:v>40266</c:v>
                </c:pt>
                <c:pt idx="126">
                  <c:v>40267</c:v>
                </c:pt>
                <c:pt idx="127">
                  <c:v>40268</c:v>
                </c:pt>
                <c:pt idx="128">
                  <c:v>40269</c:v>
                </c:pt>
                <c:pt idx="129">
                  <c:v>40274</c:v>
                </c:pt>
                <c:pt idx="130">
                  <c:v>40275</c:v>
                </c:pt>
                <c:pt idx="131">
                  <c:v>40276</c:v>
                </c:pt>
                <c:pt idx="132">
                  <c:v>40277</c:v>
                </c:pt>
                <c:pt idx="133">
                  <c:v>40280</c:v>
                </c:pt>
                <c:pt idx="134">
                  <c:v>40281</c:v>
                </c:pt>
                <c:pt idx="135">
                  <c:v>40282</c:v>
                </c:pt>
                <c:pt idx="136">
                  <c:v>40283</c:v>
                </c:pt>
                <c:pt idx="137">
                  <c:v>40284</c:v>
                </c:pt>
                <c:pt idx="138">
                  <c:v>40287</c:v>
                </c:pt>
                <c:pt idx="139">
                  <c:v>40288</c:v>
                </c:pt>
                <c:pt idx="140">
                  <c:v>40289</c:v>
                </c:pt>
                <c:pt idx="141">
                  <c:v>40290</c:v>
                </c:pt>
                <c:pt idx="142">
                  <c:v>40291</c:v>
                </c:pt>
                <c:pt idx="143">
                  <c:v>40294</c:v>
                </c:pt>
                <c:pt idx="144">
                  <c:v>40295</c:v>
                </c:pt>
                <c:pt idx="145">
                  <c:v>40296</c:v>
                </c:pt>
                <c:pt idx="146">
                  <c:v>40297</c:v>
                </c:pt>
                <c:pt idx="147">
                  <c:v>40298</c:v>
                </c:pt>
                <c:pt idx="148">
                  <c:v>40301</c:v>
                </c:pt>
                <c:pt idx="149">
                  <c:v>40302</c:v>
                </c:pt>
                <c:pt idx="150">
                  <c:v>40303</c:v>
                </c:pt>
                <c:pt idx="151">
                  <c:v>40304</c:v>
                </c:pt>
                <c:pt idx="152">
                  <c:v>40305</c:v>
                </c:pt>
                <c:pt idx="153">
                  <c:v>40308</c:v>
                </c:pt>
                <c:pt idx="154">
                  <c:v>40309</c:v>
                </c:pt>
                <c:pt idx="155">
                  <c:v>40310</c:v>
                </c:pt>
                <c:pt idx="156">
                  <c:v>40311</c:v>
                </c:pt>
                <c:pt idx="157">
                  <c:v>40312</c:v>
                </c:pt>
                <c:pt idx="158">
                  <c:v>40315</c:v>
                </c:pt>
                <c:pt idx="159">
                  <c:v>40316</c:v>
                </c:pt>
                <c:pt idx="160">
                  <c:v>40317</c:v>
                </c:pt>
                <c:pt idx="161">
                  <c:v>40318</c:v>
                </c:pt>
                <c:pt idx="162">
                  <c:v>40319</c:v>
                </c:pt>
                <c:pt idx="163">
                  <c:v>40322</c:v>
                </c:pt>
                <c:pt idx="164">
                  <c:v>40323</c:v>
                </c:pt>
                <c:pt idx="165">
                  <c:v>40324</c:v>
                </c:pt>
                <c:pt idx="166">
                  <c:v>40325</c:v>
                </c:pt>
                <c:pt idx="167">
                  <c:v>40326</c:v>
                </c:pt>
                <c:pt idx="168">
                  <c:v>40329</c:v>
                </c:pt>
                <c:pt idx="169">
                  <c:v>40330</c:v>
                </c:pt>
                <c:pt idx="170">
                  <c:v>40331</c:v>
                </c:pt>
                <c:pt idx="171">
                  <c:v>40332</c:v>
                </c:pt>
                <c:pt idx="172">
                  <c:v>40333</c:v>
                </c:pt>
                <c:pt idx="173">
                  <c:v>40336</c:v>
                </c:pt>
                <c:pt idx="174">
                  <c:v>40337</c:v>
                </c:pt>
                <c:pt idx="175">
                  <c:v>40338</c:v>
                </c:pt>
                <c:pt idx="176">
                  <c:v>40339</c:v>
                </c:pt>
                <c:pt idx="177">
                  <c:v>40340</c:v>
                </c:pt>
                <c:pt idx="178">
                  <c:v>40343</c:v>
                </c:pt>
                <c:pt idx="179">
                  <c:v>40344</c:v>
                </c:pt>
                <c:pt idx="180">
                  <c:v>40345</c:v>
                </c:pt>
                <c:pt idx="181">
                  <c:v>40346</c:v>
                </c:pt>
                <c:pt idx="182">
                  <c:v>40347</c:v>
                </c:pt>
                <c:pt idx="183">
                  <c:v>40350</c:v>
                </c:pt>
                <c:pt idx="184">
                  <c:v>40351</c:v>
                </c:pt>
                <c:pt idx="185">
                  <c:v>40352</c:v>
                </c:pt>
                <c:pt idx="186">
                  <c:v>40353</c:v>
                </c:pt>
                <c:pt idx="187">
                  <c:v>40354</c:v>
                </c:pt>
                <c:pt idx="188">
                  <c:v>40357</c:v>
                </c:pt>
                <c:pt idx="189">
                  <c:v>40358</c:v>
                </c:pt>
                <c:pt idx="190">
                  <c:v>40359</c:v>
                </c:pt>
                <c:pt idx="191">
                  <c:v>40360</c:v>
                </c:pt>
                <c:pt idx="192">
                  <c:v>40361</c:v>
                </c:pt>
                <c:pt idx="193">
                  <c:v>40364</c:v>
                </c:pt>
                <c:pt idx="194">
                  <c:v>40365</c:v>
                </c:pt>
                <c:pt idx="195">
                  <c:v>40366</c:v>
                </c:pt>
                <c:pt idx="196">
                  <c:v>40367</c:v>
                </c:pt>
                <c:pt idx="197">
                  <c:v>40368</c:v>
                </c:pt>
                <c:pt idx="198">
                  <c:v>40371</c:v>
                </c:pt>
                <c:pt idx="199">
                  <c:v>40372</c:v>
                </c:pt>
                <c:pt idx="200">
                  <c:v>40373</c:v>
                </c:pt>
                <c:pt idx="201">
                  <c:v>40374</c:v>
                </c:pt>
                <c:pt idx="202">
                  <c:v>40375</c:v>
                </c:pt>
                <c:pt idx="203">
                  <c:v>40378</c:v>
                </c:pt>
                <c:pt idx="204">
                  <c:v>40379</c:v>
                </c:pt>
                <c:pt idx="205">
                  <c:v>40380</c:v>
                </c:pt>
                <c:pt idx="206">
                  <c:v>40381</c:v>
                </c:pt>
                <c:pt idx="207">
                  <c:v>40382</c:v>
                </c:pt>
                <c:pt idx="208">
                  <c:v>40385</c:v>
                </c:pt>
                <c:pt idx="209">
                  <c:v>40386</c:v>
                </c:pt>
                <c:pt idx="210">
                  <c:v>40387</c:v>
                </c:pt>
                <c:pt idx="211">
                  <c:v>40388</c:v>
                </c:pt>
                <c:pt idx="212">
                  <c:v>40389</c:v>
                </c:pt>
                <c:pt idx="213">
                  <c:v>40392</c:v>
                </c:pt>
                <c:pt idx="214">
                  <c:v>40393</c:v>
                </c:pt>
                <c:pt idx="215">
                  <c:v>40394</c:v>
                </c:pt>
                <c:pt idx="216">
                  <c:v>40395</c:v>
                </c:pt>
                <c:pt idx="217">
                  <c:v>40396</c:v>
                </c:pt>
                <c:pt idx="218">
                  <c:v>40399</c:v>
                </c:pt>
                <c:pt idx="219">
                  <c:v>40400</c:v>
                </c:pt>
                <c:pt idx="220">
                  <c:v>40401</c:v>
                </c:pt>
                <c:pt idx="221">
                  <c:v>40402</c:v>
                </c:pt>
                <c:pt idx="222">
                  <c:v>40403</c:v>
                </c:pt>
                <c:pt idx="223">
                  <c:v>40406</c:v>
                </c:pt>
                <c:pt idx="224">
                  <c:v>40407</c:v>
                </c:pt>
                <c:pt idx="225">
                  <c:v>40408</c:v>
                </c:pt>
                <c:pt idx="226">
                  <c:v>40409</c:v>
                </c:pt>
                <c:pt idx="227">
                  <c:v>40410</c:v>
                </c:pt>
                <c:pt idx="228">
                  <c:v>40413</c:v>
                </c:pt>
                <c:pt idx="229">
                  <c:v>40414</c:v>
                </c:pt>
                <c:pt idx="230">
                  <c:v>40415</c:v>
                </c:pt>
                <c:pt idx="231">
                  <c:v>40416</c:v>
                </c:pt>
                <c:pt idx="232">
                  <c:v>40417</c:v>
                </c:pt>
                <c:pt idx="233">
                  <c:v>40420</c:v>
                </c:pt>
                <c:pt idx="234">
                  <c:v>40421</c:v>
                </c:pt>
                <c:pt idx="235">
                  <c:v>40422</c:v>
                </c:pt>
                <c:pt idx="236">
                  <c:v>40423</c:v>
                </c:pt>
                <c:pt idx="237">
                  <c:v>40424</c:v>
                </c:pt>
                <c:pt idx="238">
                  <c:v>40427</c:v>
                </c:pt>
                <c:pt idx="239">
                  <c:v>40428</c:v>
                </c:pt>
                <c:pt idx="240">
                  <c:v>40429</c:v>
                </c:pt>
                <c:pt idx="241">
                  <c:v>40430</c:v>
                </c:pt>
                <c:pt idx="242">
                  <c:v>40431</c:v>
                </c:pt>
                <c:pt idx="243">
                  <c:v>40434</c:v>
                </c:pt>
                <c:pt idx="244">
                  <c:v>40435</c:v>
                </c:pt>
                <c:pt idx="245">
                  <c:v>40436</c:v>
                </c:pt>
                <c:pt idx="246">
                  <c:v>40437</c:v>
                </c:pt>
                <c:pt idx="247">
                  <c:v>40438</c:v>
                </c:pt>
                <c:pt idx="248">
                  <c:v>40441</c:v>
                </c:pt>
                <c:pt idx="249">
                  <c:v>40442</c:v>
                </c:pt>
                <c:pt idx="250">
                  <c:v>40443</c:v>
                </c:pt>
                <c:pt idx="251">
                  <c:v>40444</c:v>
                </c:pt>
                <c:pt idx="252">
                  <c:v>40445</c:v>
                </c:pt>
                <c:pt idx="253">
                  <c:v>40448</c:v>
                </c:pt>
                <c:pt idx="254">
                  <c:v>40449</c:v>
                </c:pt>
                <c:pt idx="255">
                  <c:v>40450</c:v>
                </c:pt>
                <c:pt idx="256">
                  <c:v>40451</c:v>
                </c:pt>
                <c:pt idx="257">
                  <c:v>40452</c:v>
                </c:pt>
                <c:pt idx="258">
                  <c:v>40455</c:v>
                </c:pt>
                <c:pt idx="259">
                  <c:v>40456</c:v>
                </c:pt>
                <c:pt idx="260">
                  <c:v>40457</c:v>
                </c:pt>
                <c:pt idx="261">
                  <c:v>40458</c:v>
                </c:pt>
                <c:pt idx="262">
                  <c:v>40459</c:v>
                </c:pt>
                <c:pt idx="263">
                  <c:v>40462</c:v>
                </c:pt>
                <c:pt idx="264">
                  <c:v>40463</c:v>
                </c:pt>
                <c:pt idx="265">
                  <c:v>40464</c:v>
                </c:pt>
                <c:pt idx="266">
                  <c:v>40465</c:v>
                </c:pt>
                <c:pt idx="267">
                  <c:v>40466</c:v>
                </c:pt>
                <c:pt idx="268">
                  <c:v>40469</c:v>
                </c:pt>
                <c:pt idx="269">
                  <c:v>40470</c:v>
                </c:pt>
                <c:pt idx="270">
                  <c:v>40471</c:v>
                </c:pt>
                <c:pt idx="271">
                  <c:v>40472</c:v>
                </c:pt>
                <c:pt idx="272">
                  <c:v>40473</c:v>
                </c:pt>
                <c:pt idx="273">
                  <c:v>40476</c:v>
                </c:pt>
                <c:pt idx="274">
                  <c:v>40477</c:v>
                </c:pt>
                <c:pt idx="275">
                  <c:v>40478</c:v>
                </c:pt>
                <c:pt idx="276">
                  <c:v>40479</c:v>
                </c:pt>
                <c:pt idx="277">
                  <c:v>40480</c:v>
                </c:pt>
                <c:pt idx="278">
                  <c:v>40483</c:v>
                </c:pt>
                <c:pt idx="279">
                  <c:v>40484</c:v>
                </c:pt>
                <c:pt idx="280">
                  <c:v>40485</c:v>
                </c:pt>
                <c:pt idx="281">
                  <c:v>40486</c:v>
                </c:pt>
                <c:pt idx="282">
                  <c:v>40487</c:v>
                </c:pt>
                <c:pt idx="283">
                  <c:v>40490</c:v>
                </c:pt>
                <c:pt idx="284">
                  <c:v>40491</c:v>
                </c:pt>
                <c:pt idx="285">
                  <c:v>40492</c:v>
                </c:pt>
                <c:pt idx="286">
                  <c:v>40493</c:v>
                </c:pt>
                <c:pt idx="287">
                  <c:v>40494</c:v>
                </c:pt>
                <c:pt idx="288">
                  <c:v>40497</c:v>
                </c:pt>
                <c:pt idx="289">
                  <c:v>40498</c:v>
                </c:pt>
                <c:pt idx="290">
                  <c:v>40499</c:v>
                </c:pt>
                <c:pt idx="291">
                  <c:v>40500</c:v>
                </c:pt>
                <c:pt idx="292">
                  <c:v>40501</c:v>
                </c:pt>
                <c:pt idx="293">
                  <c:v>40504</c:v>
                </c:pt>
                <c:pt idx="294">
                  <c:v>40505</c:v>
                </c:pt>
                <c:pt idx="295">
                  <c:v>40506</c:v>
                </c:pt>
                <c:pt idx="296">
                  <c:v>40507</c:v>
                </c:pt>
                <c:pt idx="297">
                  <c:v>40508</c:v>
                </c:pt>
                <c:pt idx="298">
                  <c:v>40511</c:v>
                </c:pt>
                <c:pt idx="299">
                  <c:v>40512</c:v>
                </c:pt>
                <c:pt idx="300">
                  <c:v>40513</c:v>
                </c:pt>
                <c:pt idx="301">
                  <c:v>40514</c:v>
                </c:pt>
                <c:pt idx="302">
                  <c:v>40515</c:v>
                </c:pt>
                <c:pt idx="303">
                  <c:v>40518</c:v>
                </c:pt>
                <c:pt idx="304">
                  <c:v>40519</c:v>
                </c:pt>
                <c:pt idx="305">
                  <c:v>40520</c:v>
                </c:pt>
                <c:pt idx="306">
                  <c:v>40521</c:v>
                </c:pt>
                <c:pt idx="307">
                  <c:v>40522</c:v>
                </c:pt>
                <c:pt idx="308">
                  <c:v>40525</c:v>
                </c:pt>
                <c:pt idx="309">
                  <c:v>40526</c:v>
                </c:pt>
                <c:pt idx="310">
                  <c:v>40527</c:v>
                </c:pt>
                <c:pt idx="311">
                  <c:v>40528</c:v>
                </c:pt>
                <c:pt idx="312">
                  <c:v>40529</c:v>
                </c:pt>
                <c:pt idx="313">
                  <c:v>40532</c:v>
                </c:pt>
                <c:pt idx="314">
                  <c:v>40533</c:v>
                </c:pt>
                <c:pt idx="315">
                  <c:v>40534</c:v>
                </c:pt>
                <c:pt idx="316">
                  <c:v>40535</c:v>
                </c:pt>
                <c:pt idx="317">
                  <c:v>40536</c:v>
                </c:pt>
                <c:pt idx="318">
                  <c:v>40539</c:v>
                </c:pt>
                <c:pt idx="319">
                  <c:v>40540</c:v>
                </c:pt>
                <c:pt idx="320">
                  <c:v>40541</c:v>
                </c:pt>
                <c:pt idx="321">
                  <c:v>40542</c:v>
                </c:pt>
                <c:pt idx="322">
                  <c:v>40543</c:v>
                </c:pt>
                <c:pt idx="323">
                  <c:v>40546</c:v>
                </c:pt>
                <c:pt idx="324">
                  <c:v>40547</c:v>
                </c:pt>
                <c:pt idx="325">
                  <c:v>40548</c:v>
                </c:pt>
                <c:pt idx="326">
                  <c:v>40549</c:v>
                </c:pt>
                <c:pt idx="327">
                  <c:v>40550</c:v>
                </c:pt>
                <c:pt idx="328">
                  <c:v>40553</c:v>
                </c:pt>
                <c:pt idx="329">
                  <c:v>40554</c:v>
                </c:pt>
                <c:pt idx="330">
                  <c:v>40555</c:v>
                </c:pt>
                <c:pt idx="331">
                  <c:v>40556</c:v>
                </c:pt>
                <c:pt idx="332">
                  <c:v>40557</c:v>
                </c:pt>
                <c:pt idx="333">
                  <c:v>40560</c:v>
                </c:pt>
                <c:pt idx="334">
                  <c:v>40561</c:v>
                </c:pt>
                <c:pt idx="335">
                  <c:v>40562</c:v>
                </c:pt>
                <c:pt idx="336">
                  <c:v>40563</c:v>
                </c:pt>
                <c:pt idx="337">
                  <c:v>40564</c:v>
                </c:pt>
                <c:pt idx="338">
                  <c:v>40567</c:v>
                </c:pt>
                <c:pt idx="339">
                  <c:v>40568</c:v>
                </c:pt>
                <c:pt idx="340">
                  <c:v>40569</c:v>
                </c:pt>
                <c:pt idx="341">
                  <c:v>40570</c:v>
                </c:pt>
                <c:pt idx="342">
                  <c:v>40571</c:v>
                </c:pt>
                <c:pt idx="343">
                  <c:v>40574</c:v>
                </c:pt>
                <c:pt idx="344">
                  <c:v>40575</c:v>
                </c:pt>
                <c:pt idx="345">
                  <c:v>40576</c:v>
                </c:pt>
                <c:pt idx="346">
                  <c:v>40577</c:v>
                </c:pt>
                <c:pt idx="347">
                  <c:v>40578</c:v>
                </c:pt>
                <c:pt idx="348">
                  <c:v>40581</c:v>
                </c:pt>
                <c:pt idx="349">
                  <c:v>40582</c:v>
                </c:pt>
                <c:pt idx="350">
                  <c:v>40583</c:v>
                </c:pt>
                <c:pt idx="351">
                  <c:v>40584</c:v>
                </c:pt>
                <c:pt idx="352">
                  <c:v>40585</c:v>
                </c:pt>
                <c:pt idx="353">
                  <c:v>40588</c:v>
                </c:pt>
                <c:pt idx="354">
                  <c:v>40589</c:v>
                </c:pt>
                <c:pt idx="355">
                  <c:v>40590</c:v>
                </c:pt>
                <c:pt idx="356">
                  <c:v>40591</c:v>
                </c:pt>
                <c:pt idx="357">
                  <c:v>40592</c:v>
                </c:pt>
                <c:pt idx="358">
                  <c:v>40595</c:v>
                </c:pt>
                <c:pt idx="359">
                  <c:v>40596</c:v>
                </c:pt>
                <c:pt idx="360">
                  <c:v>40597</c:v>
                </c:pt>
                <c:pt idx="361">
                  <c:v>40598</c:v>
                </c:pt>
                <c:pt idx="362">
                  <c:v>40599</c:v>
                </c:pt>
                <c:pt idx="363">
                  <c:v>40602</c:v>
                </c:pt>
                <c:pt idx="364">
                  <c:v>40603</c:v>
                </c:pt>
                <c:pt idx="365">
                  <c:v>40604</c:v>
                </c:pt>
                <c:pt idx="366">
                  <c:v>40605</c:v>
                </c:pt>
                <c:pt idx="367">
                  <c:v>40606</c:v>
                </c:pt>
                <c:pt idx="368">
                  <c:v>40609</c:v>
                </c:pt>
                <c:pt idx="369">
                  <c:v>40610</c:v>
                </c:pt>
                <c:pt idx="370">
                  <c:v>40611</c:v>
                </c:pt>
                <c:pt idx="371">
                  <c:v>40612</c:v>
                </c:pt>
                <c:pt idx="372">
                  <c:v>40613</c:v>
                </c:pt>
                <c:pt idx="373">
                  <c:v>40616</c:v>
                </c:pt>
                <c:pt idx="374">
                  <c:v>40617</c:v>
                </c:pt>
                <c:pt idx="375">
                  <c:v>40618</c:v>
                </c:pt>
                <c:pt idx="376">
                  <c:v>40619</c:v>
                </c:pt>
                <c:pt idx="377">
                  <c:v>40620</c:v>
                </c:pt>
                <c:pt idx="378">
                  <c:v>40623</c:v>
                </c:pt>
                <c:pt idx="379">
                  <c:v>40624</c:v>
                </c:pt>
                <c:pt idx="380">
                  <c:v>40625</c:v>
                </c:pt>
                <c:pt idx="381">
                  <c:v>40626</c:v>
                </c:pt>
                <c:pt idx="382">
                  <c:v>40627</c:v>
                </c:pt>
                <c:pt idx="383">
                  <c:v>40630</c:v>
                </c:pt>
                <c:pt idx="384">
                  <c:v>40631</c:v>
                </c:pt>
                <c:pt idx="385">
                  <c:v>40632</c:v>
                </c:pt>
                <c:pt idx="386">
                  <c:v>40633</c:v>
                </c:pt>
                <c:pt idx="387">
                  <c:v>40634</c:v>
                </c:pt>
                <c:pt idx="388">
                  <c:v>40637</c:v>
                </c:pt>
                <c:pt idx="389">
                  <c:v>40638</c:v>
                </c:pt>
                <c:pt idx="390">
                  <c:v>40639</c:v>
                </c:pt>
                <c:pt idx="391">
                  <c:v>40640</c:v>
                </c:pt>
                <c:pt idx="392">
                  <c:v>40641</c:v>
                </c:pt>
                <c:pt idx="393">
                  <c:v>40644</c:v>
                </c:pt>
                <c:pt idx="394">
                  <c:v>40645</c:v>
                </c:pt>
                <c:pt idx="395">
                  <c:v>40646</c:v>
                </c:pt>
                <c:pt idx="396">
                  <c:v>40647</c:v>
                </c:pt>
                <c:pt idx="397">
                  <c:v>40648</c:v>
                </c:pt>
                <c:pt idx="398">
                  <c:v>40651</c:v>
                </c:pt>
                <c:pt idx="399">
                  <c:v>40652</c:v>
                </c:pt>
                <c:pt idx="400">
                  <c:v>40653</c:v>
                </c:pt>
                <c:pt idx="401">
                  <c:v>40654</c:v>
                </c:pt>
                <c:pt idx="402">
                  <c:v>40659</c:v>
                </c:pt>
                <c:pt idx="403">
                  <c:v>40660</c:v>
                </c:pt>
                <c:pt idx="404">
                  <c:v>40661</c:v>
                </c:pt>
                <c:pt idx="405">
                  <c:v>40662</c:v>
                </c:pt>
                <c:pt idx="406">
                  <c:v>40665</c:v>
                </c:pt>
                <c:pt idx="407">
                  <c:v>40666</c:v>
                </c:pt>
                <c:pt idx="408">
                  <c:v>40667</c:v>
                </c:pt>
                <c:pt idx="409">
                  <c:v>40668</c:v>
                </c:pt>
                <c:pt idx="410">
                  <c:v>40669</c:v>
                </c:pt>
                <c:pt idx="411">
                  <c:v>40672</c:v>
                </c:pt>
                <c:pt idx="412">
                  <c:v>40673</c:v>
                </c:pt>
                <c:pt idx="413">
                  <c:v>40674</c:v>
                </c:pt>
                <c:pt idx="414">
                  <c:v>40675</c:v>
                </c:pt>
                <c:pt idx="415">
                  <c:v>40676</c:v>
                </c:pt>
                <c:pt idx="416">
                  <c:v>40679</c:v>
                </c:pt>
                <c:pt idx="417">
                  <c:v>40680</c:v>
                </c:pt>
                <c:pt idx="418">
                  <c:v>40681</c:v>
                </c:pt>
                <c:pt idx="419">
                  <c:v>40682</c:v>
                </c:pt>
                <c:pt idx="420">
                  <c:v>40683</c:v>
                </c:pt>
                <c:pt idx="421">
                  <c:v>40686</c:v>
                </c:pt>
                <c:pt idx="422">
                  <c:v>40687</c:v>
                </c:pt>
                <c:pt idx="423">
                  <c:v>40688</c:v>
                </c:pt>
                <c:pt idx="424">
                  <c:v>40689</c:v>
                </c:pt>
                <c:pt idx="425">
                  <c:v>40690</c:v>
                </c:pt>
                <c:pt idx="426">
                  <c:v>40693</c:v>
                </c:pt>
                <c:pt idx="427">
                  <c:v>40694</c:v>
                </c:pt>
                <c:pt idx="428">
                  <c:v>40695</c:v>
                </c:pt>
                <c:pt idx="429">
                  <c:v>40696</c:v>
                </c:pt>
                <c:pt idx="430">
                  <c:v>40697</c:v>
                </c:pt>
                <c:pt idx="431">
                  <c:v>40700</c:v>
                </c:pt>
                <c:pt idx="432">
                  <c:v>40701</c:v>
                </c:pt>
                <c:pt idx="433">
                  <c:v>40702</c:v>
                </c:pt>
                <c:pt idx="434">
                  <c:v>40703</c:v>
                </c:pt>
                <c:pt idx="435">
                  <c:v>40704</c:v>
                </c:pt>
                <c:pt idx="436">
                  <c:v>40707</c:v>
                </c:pt>
                <c:pt idx="437">
                  <c:v>40708</c:v>
                </c:pt>
                <c:pt idx="438">
                  <c:v>40709</c:v>
                </c:pt>
                <c:pt idx="439">
                  <c:v>40710</c:v>
                </c:pt>
                <c:pt idx="440">
                  <c:v>40711</c:v>
                </c:pt>
                <c:pt idx="441">
                  <c:v>40714</c:v>
                </c:pt>
                <c:pt idx="442">
                  <c:v>40715</c:v>
                </c:pt>
                <c:pt idx="443">
                  <c:v>40716</c:v>
                </c:pt>
                <c:pt idx="444">
                  <c:v>40717</c:v>
                </c:pt>
                <c:pt idx="445">
                  <c:v>40718</c:v>
                </c:pt>
                <c:pt idx="446">
                  <c:v>40721</c:v>
                </c:pt>
                <c:pt idx="447">
                  <c:v>40722</c:v>
                </c:pt>
                <c:pt idx="448">
                  <c:v>40723</c:v>
                </c:pt>
                <c:pt idx="449">
                  <c:v>40724</c:v>
                </c:pt>
                <c:pt idx="450">
                  <c:v>40725</c:v>
                </c:pt>
                <c:pt idx="451">
                  <c:v>40728</c:v>
                </c:pt>
                <c:pt idx="452">
                  <c:v>40729</c:v>
                </c:pt>
                <c:pt idx="453">
                  <c:v>40730</c:v>
                </c:pt>
                <c:pt idx="454">
                  <c:v>40731</c:v>
                </c:pt>
                <c:pt idx="455">
                  <c:v>40732</c:v>
                </c:pt>
                <c:pt idx="456">
                  <c:v>40735</c:v>
                </c:pt>
                <c:pt idx="457">
                  <c:v>40736</c:v>
                </c:pt>
                <c:pt idx="458">
                  <c:v>40737</c:v>
                </c:pt>
                <c:pt idx="459">
                  <c:v>40738</c:v>
                </c:pt>
                <c:pt idx="460">
                  <c:v>40739</c:v>
                </c:pt>
                <c:pt idx="461">
                  <c:v>40742</c:v>
                </c:pt>
                <c:pt idx="462">
                  <c:v>40743</c:v>
                </c:pt>
                <c:pt idx="463">
                  <c:v>40744</c:v>
                </c:pt>
                <c:pt idx="464">
                  <c:v>40745</c:v>
                </c:pt>
                <c:pt idx="465">
                  <c:v>40746</c:v>
                </c:pt>
                <c:pt idx="466">
                  <c:v>40749</c:v>
                </c:pt>
                <c:pt idx="467">
                  <c:v>40750</c:v>
                </c:pt>
                <c:pt idx="468">
                  <c:v>40751</c:v>
                </c:pt>
                <c:pt idx="469">
                  <c:v>40752</c:v>
                </c:pt>
                <c:pt idx="470">
                  <c:v>40753</c:v>
                </c:pt>
                <c:pt idx="471">
                  <c:v>40756</c:v>
                </c:pt>
                <c:pt idx="472">
                  <c:v>40757</c:v>
                </c:pt>
                <c:pt idx="473">
                  <c:v>40758</c:v>
                </c:pt>
                <c:pt idx="474">
                  <c:v>40759</c:v>
                </c:pt>
                <c:pt idx="475">
                  <c:v>40760</c:v>
                </c:pt>
                <c:pt idx="476">
                  <c:v>40763</c:v>
                </c:pt>
                <c:pt idx="477">
                  <c:v>40764</c:v>
                </c:pt>
                <c:pt idx="478">
                  <c:v>40765</c:v>
                </c:pt>
                <c:pt idx="479">
                  <c:v>40766</c:v>
                </c:pt>
                <c:pt idx="480">
                  <c:v>40767</c:v>
                </c:pt>
                <c:pt idx="481">
                  <c:v>40770</c:v>
                </c:pt>
                <c:pt idx="482">
                  <c:v>40771</c:v>
                </c:pt>
                <c:pt idx="483">
                  <c:v>40772</c:v>
                </c:pt>
                <c:pt idx="484">
                  <c:v>40773</c:v>
                </c:pt>
                <c:pt idx="485">
                  <c:v>40774</c:v>
                </c:pt>
                <c:pt idx="486">
                  <c:v>40777</c:v>
                </c:pt>
                <c:pt idx="487">
                  <c:v>40778</c:v>
                </c:pt>
                <c:pt idx="488">
                  <c:v>40779</c:v>
                </c:pt>
                <c:pt idx="489">
                  <c:v>40780</c:v>
                </c:pt>
                <c:pt idx="490">
                  <c:v>40781</c:v>
                </c:pt>
                <c:pt idx="491">
                  <c:v>40784</c:v>
                </c:pt>
                <c:pt idx="492">
                  <c:v>40785</c:v>
                </c:pt>
                <c:pt idx="493">
                  <c:v>40786</c:v>
                </c:pt>
                <c:pt idx="494">
                  <c:v>40787</c:v>
                </c:pt>
                <c:pt idx="495">
                  <c:v>40788</c:v>
                </c:pt>
                <c:pt idx="496">
                  <c:v>40791</c:v>
                </c:pt>
                <c:pt idx="497">
                  <c:v>40792</c:v>
                </c:pt>
                <c:pt idx="498">
                  <c:v>40793</c:v>
                </c:pt>
                <c:pt idx="499">
                  <c:v>40794</c:v>
                </c:pt>
                <c:pt idx="500">
                  <c:v>40795</c:v>
                </c:pt>
                <c:pt idx="501">
                  <c:v>40798</c:v>
                </c:pt>
                <c:pt idx="502">
                  <c:v>40799</c:v>
                </c:pt>
                <c:pt idx="503">
                  <c:v>40800</c:v>
                </c:pt>
                <c:pt idx="504">
                  <c:v>40801</c:v>
                </c:pt>
                <c:pt idx="505">
                  <c:v>40802</c:v>
                </c:pt>
                <c:pt idx="506">
                  <c:v>40805</c:v>
                </c:pt>
                <c:pt idx="507">
                  <c:v>40806</c:v>
                </c:pt>
                <c:pt idx="508">
                  <c:v>40807</c:v>
                </c:pt>
                <c:pt idx="509">
                  <c:v>40808</c:v>
                </c:pt>
                <c:pt idx="510">
                  <c:v>40809</c:v>
                </c:pt>
                <c:pt idx="511">
                  <c:v>40812</c:v>
                </c:pt>
                <c:pt idx="512">
                  <c:v>40813</c:v>
                </c:pt>
                <c:pt idx="513">
                  <c:v>40814</c:v>
                </c:pt>
                <c:pt idx="514">
                  <c:v>40815</c:v>
                </c:pt>
                <c:pt idx="515">
                  <c:v>40816</c:v>
                </c:pt>
                <c:pt idx="516">
                  <c:v>40819</c:v>
                </c:pt>
                <c:pt idx="517">
                  <c:v>40820</c:v>
                </c:pt>
                <c:pt idx="518">
                  <c:v>40821</c:v>
                </c:pt>
                <c:pt idx="519">
                  <c:v>40822</c:v>
                </c:pt>
                <c:pt idx="520">
                  <c:v>40823</c:v>
                </c:pt>
                <c:pt idx="521">
                  <c:v>40826</c:v>
                </c:pt>
                <c:pt idx="522">
                  <c:v>40827</c:v>
                </c:pt>
                <c:pt idx="523">
                  <c:v>40828</c:v>
                </c:pt>
                <c:pt idx="524">
                  <c:v>40829</c:v>
                </c:pt>
                <c:pt idx="525">
                  <c:v>40830</c:v>
                </c:pt>
                <c:pt idx="526">
                  <c:v>40833</c:v>
                </c:pt>
                <c:pt idx="527">
                  <c:v>40834</c:v>
                </c:pt>
                <c:pt idx="528">
                  <c:v>40835</c:v>
                </c:pt>
                <c:pt idx="529">
                  <c:v>40836</c:v>
                </c:pt>
                <c:pt idx="530">
                  <c:v>40837</c:v>
                </c:pt>
                <c:pt idx="531">
                  <c:v>40840</c:v>
                </c:pt>
                <c:pt idx="532">
                  <c:v>40841</c:v>
                </c:pt>
                <c:pt idx="533">
                  <c:v>40842</c:v>
                </c:pt>
                <c:pt idx="534">
                  <c:v>40843</c:v>
                </c:pt>
                <c:pt idx="535">
                  <c:v>40844</c:v>
                </c:pt>
                <c:pt idx="536">
                  <c:v>40847</c:v>
                </c:pt>
                <c:pt idx="537">
                  <c:v>40848</c:v>
                </c:pt>
                <c:pt idx="538">
                  <c:v>40849</c:v>
                </c:pt>
                <c:pt idx="539">
                  <c:v>40850</c:v>
                </c:pt>
                <c:pt idx="540">
                  <c:v>40851</c:v>
                </c:pt>
                <c:pt idx="541">
                  <c:v>40854</c:v>
                </c:pt>
                <c:pt idx="542">
                  <c:v>40855</c:v>
                </c:pt>
                <c:pt idx="543">
                  <c:v>40856</c:v>
                </c:pt>
                <c:pt idx="544">
                  <c:v>40857</c:v>
                </c:pt>
                <c:pt idx="545">
                  <c:v>40858</c:v>
                </c:pt>
                <c:pt idx="546">
                  <c:v>40861</c:v>
                </c:pt>
                <c:pt idx="547">
                  <c:v>40862</c:v>
                </c:pt>
                <c:pt idx="548">
                  <c:v>40863</c:v>
                </c:pt>
                <c:pt idx="549">
                  <c:v>40864</c:v>
                </c:pt>
                <c:pt idx="550">
                  <c:v>40865</c:v>
                </c:pt>
                <c:pt idx="551">
                  <c:v>40868</c:v>
                </c:pt>
                <c:pt idx="552">
                  <c:v>40869</c:v>
                </c:pt>
                <c:pt idx="553">
                  <c:v>40870</c:v>
                </c:pt>
                <c:pt idx="554">
                  <c:v>40871</c:v>
                </c:pt>
                <c:pt idx="555">
                  <c:v>40872</c:v>
                </c:pt>
                <c:pt idx="556">
                  <c:v>40875</c:v>
                </c:pt>
                <c:pt idx="557">
                  <c:v>40876</c:v>
                </c:pt>
                <c:pt idx="558">
                  <c:v>40877</c:v>
                </c:pt>
                <c:pt idx="559">
                  <c:v>40878</c:v>
                </c:pt>
                <c:pt idx="560">
                  <c:v>40879</c:v>
                </c:pt>
                <c:pt idx="561">
                  <c:v>40882</c:v>
                </c:pt>
                <c:pt idx="562">
                  <c:v>40883</c:v>
                </c:pt>
                <c:pt idx="563">
                  <c:v>40884</c:v>
                </c:pt>
                <c:pt idx="564">
                  <c:v>40885</c:v>
                </c:pt>
                <c:pt idx="565">
                  <c:v>40886</c:v>
                </c:pt>
                <c:pt idx="566">
                  <c:v>40889</c:v>
                </c:pt>
                <c:pt idx="567">
                  <c:v>40890</c:v>
                </c:pt>
                <c:pt idx="568">
                  <c:v>40891</c:v>
                </c:pt>
                <c:pt idx="569">
                  <c:v>40892</c:v>
                </c:pt>
                <c:pt idx="570">
                  <c:v>40893</c:v>
                </c:pt>
                <c:pt idx="571">
                  <c:v>40896</c:v>
                </c:pt>
                <c:pt idx="572">
                  <c:v>40897</c:v>
                </c:pt>
                <c:pt idx="573">
                  <c:v>40898</c:v>
                </c:pt>
                <c:pt idx="574">
                  <c:v>40899</c:v>
                </c:pt>
                <c:pt idx="575">
                  <c:v>40900</c:v>
                </c:pt>
                <c:pt idx="576">
                  <c:v>40904</c:v>
                </c:pt>
                <c:pt idx="577">
                  <c:v>40905</c:v>
                </c:pt>
                <c:pt idx="578">
                  <c:v>40906</c:v>
                </c:pt>
                <c:pt idx="579">
                  <c:v>40907</c:v>
                </c:pt>
                <c:pt idx="580">
                  <c:v>40910</c:v>
                </c:pt>
                <c:pt idx="581">
                  <c:v>40911</c:v>
                </c:pt>
                <c:pt idx="582">
                  <c:v>40912</c:v>
                </c:pt>
                <c:pt idx="583">
                  <c:v>40913</c:v>
                </c:pt>
                <c:pt idx="584">
                  <c:v>40914</c:v>
                </c:pt>
                <c:pt idx="585">
                  <c:v>40917</c:v>
                </c:pt>
                <c:pt idx="586">
                  <c:v>40918</c:v>
                </c:pt>
                <c:pt idx="587">
                  <c:v>40919</c:v>
                </c:pt>
                <c:pt idx="588">
                  <c:v>40920</c:v>
                </c:pt>
                <c:pt idx="589">
                  <c:v>40921</c:v>
                </c:pt>
                <c:pt idx="590">
                  <c:v>40924</c:v>
                </c:pt>
                <c:pt idx="591">
                  <c:v>40925</c:v>
                </c:pt>
                <c:pt idx="592">
                  <c:v>40926</c:v>
                </c:pt>
                <c:pt idx="593">
                  <c:v>40927</c:v>
                </c:pt>
                <c:pt idx="594">
                  <c:v>40928</c:v>
                </c:pt>
                <c:pt idx="595">
                  <c:v>40931</c:v>
                </c:pt>
                <c:pt idx="596">
                  <c:v>40932</c:v>
                </c:pt>
                <c:pt idx="597">
                  <c:v>40933</c:v>
                </c:pt>
                <c:pt idx="598">
                  <c:v>40934</c:v>
                </c:pt>
                <c:pt idx="599">
                  <c:v>40935</c:v>
                </c:pt>
                <c:pt idx="600">
                  <c:v>40938</c:v>
                </c:pt>
                <c:pt idx="601">
                  <c:v>40939</c:v>
                </c:pt>
                <c:pt idx="602">
                  <c:v>40940</c:v>
                </c:pt>
                <c:pt idx="603">
                  <c:v>40941</c:v>
                </c:pt>
                <c:pt idx="604">
                  <c:v>40942</c:v>
                </c:pt>
                <c:pt idx="605">
                  <c:v>40945</c:v>
                </c:pt>
                <c:pt idx="606">
                  <c:v>40946</c:v>
                </c:pt>
                <c:pt idx="607">
                  <c:v>40947</c:v>
                </c:pt>
                <c:pt idx="608">
                  <c:v>40948</c:v>
                </c:pt>
                <c:pt idx="609">
                  <c:v>40949</c:v>
                </c:pt>
                <c:pt idx="610">
                  <c:v>40952</c:v>
                </c:pt>
                <c:pt idx="611">
                  <c:v>40953</c:v>
                </c:pt>
                <c:pt idx="612">
                  <c:v>40954</c:v>
                </c:pt>
                <c:pt idx="613">
                  <c:v>40955</c:v>
                </c:pt>
                <c:pt idx="614">
                  <c:v>40956</c:v>
                </c:pt>
                <c:pt idx="615">
                  <c:v>40959</c:v>
                </c:pt>
                <c:pt idx="616">
                  <c:v>40960</c:v>
                </c:pt>
                <c:pt idx="617">
                  <c:v>40961</c:v>
                </c:pt>
                <c:pt idx="618">
                  <c:v>40962</c:v>
                </c:pt>
                <c:pt idx="619">
                  <c:v>40963</c:v>
                </c:pt>
                <c:pt idx="620">
                  <c:v>40966</c:v>
                </c:pt>
                <c:pt idx="621">
                  <c:v>40967</c:v>
                </c:pt>
                <c:pt idx="622">
                  <c:v>40968</c:v>
                </c:pt>
                <c:pt idx="623">
                  <c:v>40969</c:v>
                </c:pt>
                <c:pt idx="624">
                  <c:v>40970</c:v>
                </c:pt>
                <c:pt idx="625">
                  <c:v>40973</c:v>
                </c:pt>
                <c:pt idx="626">
                  <c:v>40974</c:v>
                </c:pt>
                <c:pt idx="627">
                  <c:v>40975</c:v>
                </c:pt>
                <c:pt idx="628">
                  <c:v>40976</c:v>
                </c:pt>
                <c:pt idx="629">
                  <c:v>40977</c:v>
                </c:pt>
                <c:pt idx="630">
                  <c:v>40980</c:v>
                </c:pt>
                <c:pt idx="631">
                  <c:v>40981</c:v>
                </c:pt>
                <c:pt idx="632">
                  <c:v>40982</c:v>
                </c:pt>
                <c:pt idx="633">
                  <c:v>40983</c:v>
                </c:pt>
                <c:pt idx="634">
                  <c:v>40984</c:v>
                </c:pt>
                <c:pt idx="635">
                  <c:v>40987</c:v>
                </c:pt>
                <c:pt idx="636">
                  <c:v>40988</c:v>
                </c:pt>
                <c:pt idx="637">
                  <c:v>40989</c:v>
                </c:pt>
                <c:pt idx="638">
                  <c:v>40990</c:v>
                </c:pt>
                <c:pt idx="639">
                  <c:v>40991</c:v>
                </c:pt>
                <c:pt idx="640">
                  <c:v>40994</c:v>
                </c:pt>
                <c:pt idx="641">
                  <c:v>40995</c:v>
                </c:pt>
                <c:pt idx="642">
                  <c:v>40996</c:v>
                </c:pt>
                <c:pt idx="643">
                  <c:v>40997</c:v>
                </c:pt>
                <c:pt idx="644">
                  <c:v>40998</c:v>
                </c:pt>
                <c:pt idx="645">
                  <c:v>41001</c:v>
                </c:pt>
                <c:pt idx="646">
                  <c:v>41002</c:v>
                </c:pt>
                <c:pt idx="647">
                  <c:v>41003</c:v>
                </c:pt>
                <c:pt idx="648">
                  <c:v>41004</c:v>
                </c:pt>
                <c:pt idx="649">
                  <c:v>41009</c:v>
                </c:pt>
                <c:pt idx="650">
                  <c:v>41010</c:v>
                </c:pt>
                <c:pt idx="651">
                  <c:v>41011</c:v>
                </c:pt>
                <c:pt idx="652">
                  <c:v>41012</c:v>
                </c:pt>
                <c:pt idx="653">
                  <c:v>41015</c:v>
                </c:pt>
                <c:pt idx="654">
                  <c:v>41016</c:v>
                </c:pt>
                <c:pt idx="655">
                  <c:v>41017</c:v>
                </c:pt>
                <c:pt idx="656">
                  <c:v>41018</c:v>
                </c:pt>
                <c:pt idx="657">
                  <c:v>41019</c:v>
                </c:pt>
                <c:pt idx="658">
                  <c:v>41022</c:v>
                </c:pt>
                <c:pt idx="659">
                  <c:v>41023</c:v>
                </c:pt>
                <c:pt idx="660">
                  <c:v>41024</c:v>
                </c:pt>
                <c:pt idx="661">
                  <c:v>41025</c:v>
                </c:pt>
                <c:pt idx="662">
                  <c:v>41026</c:v>
                </c:pt>
                <c:pt idx="663">
                  <c:v>41029</c:v>
                </c:pt>
                <c:pt idx="664">
                  <c:v>41030</c:v>
                </c:pt>
                <c:pt idx="665">
                  <c:v>41031</c:v>
                </c:pt>
                <c:pt idx="666">
                  <c:v>41032</c:v>
                </c:pt>
                <c:pt idx="667">
                  <c:v>41033</c:v>
                </c:pt>
                <c:pt idx="668">
                  <c:v>41036</c:v>
                </c:pt>
                <c:pt idx="669">
                  <c:v>41037</c:v>
                </c:pt>
                <c:pt idx="670">
                  <c:v>41038</c:v>
                </c:pt>
                <c:pt idx="671">
                  <c:v>41039</c:v>
                </c:pt>
                <c:pt idx="672">
                  <c:v>41040</c:v>
                </c:pt>
                <c:pt idx="673">
                  <c:v>41043</c:v>
                </c:pt>
                <c:pt idx="674">
                  <c:v>41044</c:v>
                </c:pt>
                <c:pt idx="675">
                  <c:v>41045</c:v>
                </c:pt>
                <c:pt idx="676">
                  <c:v>41046</c:v>
                </c:pt>
                <c:pt idx="677">
                  <c:v>41047</c:v>
                </c:pt>
                <c:pt idx="678">
                  <c:v>41050</c:v>
                </c:pt>
                <c:pt idx="679">
                  <c:v>41051</c:v>
                </c:pt>
                <c:pt idx="680">
                  <c:v>41052</c:v>
                </c:pt>
                <c:pt idx="681">
                  <c:v>41053</c:v>
                </c:pt>
                <c:pt idx="682">
                  <c:v>41054</c:v>
                </c:pt>
                <c:pt idx="683">
                  <c:v>41057</c:v>
                </c:pt>
                <c:pt idx="684">
                  <c:v>41058</c:v>
                </c:pt>
                <c:pt idx="685">
                  <c:v>41059</c:v>
                </c:pt>
                <c:pt idx="686">
                  <c:v>41060</c:v>
                </c:pt>
                <c:pt idx="687">
                  <c:v>41061</c:v>
                </c:pt>
                <c:pt idx="688">
                  <c:v>41064</c:v>
                </c:pt>
                <c:pt idx="689">
                  <c:v>41065</c:v>
                </c:pt>
                <c:pt idx="690">
                  <c:v>41066</c:v>
                </c:pt>
                <c:pt idx="691">
                  <c:v>41067</c:v>
                </c:pt>
                <c:pt idx="692">
                  <c:v>41068</c:v>
                </c:pt>
                <c:pt idx="693">
                  <c:v>41071</c:v>
                </c:pt>
                <c:pt idx="694">
                  <c:v>41072</c:v>
                </c:pt>
                <c:pt idx="695">
                  <c:v>41073</c:v>
                </c:pt>
                <c:pt idx="696">
                  <c:v>41074</c:v>
                </c:pt>
                <c:pt idx="697">
                  <c:v>41075</c:v>
                </c:pt>
                <c:pt idx="698">
                  <c:v>41078</c:v>
                </c:pt>
                <c:pt idx="699">
                  <c:v>41079</c:v>
                </c:pt>
                <c:pt idx="700">
                  <c:v>41080</c:v>
                </c:pt>
                <c:pt idx="701">
                  <c:v>41081</c:v>
                </c:pt>
                <c:pt idx="702">
                  <c:v>41082</c:v>
                </c:pt>
                <c:pt idx="703">
                  <c:v>41085</c:v>
                </c:pt>
                <c:pt idx="704">
                  <c:v>41086</c:v>
                </c:pt>
                <c:pt idx="705">
                  <c:v>41087</c:v>
                </c:pt>
                <c:pt idx="706">
                  <c:v>41088</c:v>
                </c:pt>
                <c:pt idx="707">
                  <c:v>41089</c:v>
                </c:pt>
                <c:pt idx="708">
                  <c:v>41092</c:v>
                </c:pt>
                <c:pt idx="709">
                  <c:v>41093</c:v>
                </c:pt>
                <c:pt idx="710">
                  <c:v>41094</c:v>
                </c:pt>
                <c:pt idx="711">
                  <c:v>41095</c:v>
                </c:pt>
                <c:pt idx="712">
                  <c:v>41096</c:v>
                </c:pt>
                <c:pt idx="713">
                  <c:v>41099</c:v>
                </c:pt>
                <c:pt idx="714">
                  <c:v>41100</c:v>
                </c:pt>
                <c:pt idx="715">
                  <c:v>41101</c:v>
                </c:pt>
                <c:pt idx="716">
                  <c:v>41102</c:v>
                </c:pt>
                <c:pt idx="717">
                  <c:v>41103</c:v>
                </c:pt>
                <c:pt idx="718">
                  <c:v>41106</c:v>
                </c:pt>
                <c:pt idx="719">
                  <c:v>41107</c:v>
                </c:pt>
                <c:pt idx="720">
                  <c:v>41108</c:v>
                </c:pt>
                <c:pt idx="721">
                  <c:v>41109</c:v>
                </c:pt>
                <c:pt idx="722">
                  <c:v>41110</c:v>
                </c:pt>
                <c:pt idx="723">
                  <c:v>41113</c:v>
                </c:pt>
                <c:pt idx="724">
                  <c:v>41114</c:v>
                </c:pt>
                <c:pt idx="725">
                  <c:v>41115</c:v>
                </c:pt>
                <c:pt idx="726">
                  <c:v>41116</c:v>
                </c:pt>
                <c:pt idx="727">
                  <c:v>41117</c:v>
                </c:pt>
                <c:pt idx="728">
                  <c:v>41120</c:v>
                </c:pt>
                <c:pt idx="729">
                  <c:v>41121</c:v>
                </c:pt>
                <c:pt idx="730">
                  <c:v>41122</c:v>
                </c:pt>
                <c:pt idx="731">
                  <c:v>41123</c:v>
                </c:pt>
                <c:pt idx="732">
                  <c:v>41124</c:v>
                </c:pt>
                <c:pt idx="733">
                  <c:v>41127</c:v>
                </c:pt>
                <c:pt idx="734">
                  <c:v>41128</c:v>
                </c:pt>
                <c:pt idx="735">
                  <c:v>41129</c:v>
                </c:pt>
                <c:pt idx="736">
                  <c:v>41130</c:v>
                </c:pt>
                <c:pt idx="737">
                  <c:v>41131</c:v>
                </c:pt>
                <c:pt idx="738">
                  <c:v>41134</c:v>
                </c:pt>
                <c:pt idx="739">
                  <c:v>41135</c:v>
                </c:pt>
                <c:pt idx="740">
                  <c:v>41136</c:v>
                </c:pt>
                <c:pt idx="741">
                  <c:v>41137</c:v>
                </c:pt>
                <c:pt idx="742">
                  <c:v>41138</c:v>
                </c:pt>
                <c:pt idx="743">
                  <c:v>41141</c:v>
                </c:pt>
                <c:pt idx="744">
                  <c:v>41142</c:v>
                </c:pt>
                <c:pt idx="745">
                  <c:v>41143</c:v>
                </c:pt>
                <c:pt idx="746">
                  <c:v>41144</c:v>
                </c:pt>
                <c:pt idx="747">
                  <c:v>41145</c:v>
                </c:pt>
                <c:pt idx="748">
                  <c:v>41148</c:v>
                </c:pt>
                <c:pt idx="749">
                  <c:v>41149</c:v>
                </c:pt>
                <c:pt idx="750">
                  <c:v>41150</c:v>
                </c:pt>
                <c:pt idx="751">
                  <c:v>41151</c:v>
                </c:pt>
                <c:pt idx="752">
                  <c:v>41152</c:v>
                </c:pt>
                <c:pt idx="753">
                  <c:v>41155</c:v>
                </c:pt>
                <c:pt idx="754">
                  <c:v>41156</c:v>
                </c:pt>
                <c:pt idx="755">
                  <c:v>41157</c:v>
                </c:pt>
                <c:pt idx="756">
                  <c:v>41158</c:v>
                </c:pt>
                <c:pt idx="757">
                  <c:v>41159</c:v>
                </c:pt>
                <c:pt idx="758">
                  <c:v>41162</c:v>
                </c:pt>
                <c:pt idx="759">
                  <c:v>41163</c:v>
                </c:pt>
                <c:pt idx="760">
                  <c:v>41164</c:v>
                </c:pt>
                <c:pt idx="761">
                  <c:v>41165</c:v>
                </c:pt>
                <c:pt idx="762">
                  <c:v>41166</c:v>
                </c:pt>
                <c:pt idx="763">
                  <c:v>41169</c:v>
                </c:pt>
                <c:pt idx="764">
                  <c:v>41170</c:v>
                </c:pt>
                <c:pt idx="765">
                  <c:v>41171</c:v>
                </c:pt>
                <c:pt idx="766">
                  <c:v>41172</c:v>
                </c:pt>
                <c:pt idx="767">
                  <c:v>41173</c:v>
                </c:pt>
                <c:pt idx="768">
                  <c:v>41176</c:v>
                </c:pt>
                <c:pt idx="769">
                  <c:v>41177</c:v>
                </c:pt>
                <c:pt idx="770">
                  <c:v>41178</c:v>
                </c:pt>
                <c:pt idx="771">
                  <c:v>41179</c:v>
                </c:pt>
                <c:pt idx="772">
                  <c:v>41180</c:v>
                </c:pt>
                <c:pt idx="773">
                  <c:v>41183</c:v>
                </c:pt>
                <c:pt idx="774">
                  <c:v>41184</c:v>
                </c:pt>
                <c:pt idx="775">
                  <c:v>41185</c:v>
                </c:pt>
                <c:pt idx="776">
                  <c:v>41186</c:v>
                </c:pt>
                <c:pt idx="777">
                  <c:v>41187</c:v>
                </c:pt>
                <c:pt idx="778">
                  <c:v>41190</c:v>
                </c:pt>
                <c:pt idx="779">
                  <c:v>41191</c:v>
                </c:pt>
                <c:pt idx="780">
                  <c:v>41192</c:v>
                </c:pt>
                <c:pt idx="781">
                  <c:v>41193</c:v>
                </c:pt>
                <c:pt idx="782">
                  <c:v>41194</c:v>
                </c:pt>
                <c:pt idx="783">
                  <c:v>41197</c:v>
                </c:pt>
                <c:pt idx="784">
                  <c:v>41198</c:v>
                </c:pt>
                <c:pt idx="785">
                  <c:v>41199</c:v>
                </c:pt>
                <c:pt idx="786">
                  <c:v>41200</c:v>
                </c:pt>
                <c:pt idx="787">
                  <c:v>41201</c:v>
                </c:pt>
                <c:pt idx="788">
                  <c:v>41204</c:v>
                </c:pt>
                <c:pt idx="789">
                  <c:v>41205</c:v>
                </c:pt>
                <c:pt idx="790">
                  <c:v>41206</c:v>
                </c:pt>
                <c:pt idx="791">
                  <c:v>41207</c:v>
                </c:pt>
                <c:pt idx="792">
                  <c:v>41208</c:v>
                </c:pt>
                <c:pt idx="793">
                  <c:v>41211</c:v>
                </c:pt>
                <c:pt idx="794">
                  <c:v>41212</c:v>
                </c:pt>
                <c:pt idx="795">
                  <c:v>41213</c:v>
                </c:pt>
                <c:pt idx="796">
                  <c:v>41214</c:v>
                </c:pt>
                <c:pt idx="797">
                  <c:v>41215</c:v>
                </c:pt>
                <c:pt idx="798">
                  <c:v>41218</c:v>
                </c:pt>
                <c:pt idx="799">
                  <c:v>41219</c:v>
                </c:pt>
                <c:pt idx="800">
                  <c:v>41220</c:v>
                </c:pt>
                <c:pt idx="801">
                  <c:v>41221</c:v>
                </c:pt>
                <c:pt idx="802">
                  <c:v>41222</c:v>
                </c:pt>
                <c:pt idx="803">
                  <c:v>41225</c:v>
                </c:pt>
                <c:pt idx="804">
                  <c:v>41226</c:v>
                </c:pt>
                <c:pt idx="805">
                  <c:v>41227</c:v>
                </c:pt>
                <c:pt idx="806">
                  <c:v>41228</c:v>
                </c:pt>
                <c:pt idx="807">
                  <c:v>41229</c:v>
                </c:pt>
                <c:pt idx="808">
                  <c:v>41232</c:v>
                </c:pt>
                <c:pt idx="809">
                  <c:v>41233</c:v>
                </c:pt>
                <c:pt idx="810">
                  <c:v>41234</c:v>
                </c:pt>
                <c:pt idx="811">
                  <c:v>41235</c:v>
                </c:pt>
                <c:pt idx="812">
                  <c:v>41236</c:v>
                </c:pt>
                <c:pt idx="813">
                  <c:v>41239</c:v>
                </c:pt>
                <c:pt idx="814">
                  <c:v>41240</c:v>
                </c:pt>
                <c:pt idx="815">
                  <c:v>41241</c:v>
                </c:pt>
                <c:pt idx="816">
                  <c:v>41242</c:v>
                </c:pt>
                <c:pt idx="817">
                  <c:v>41243</c:v>
                </c:pt>
                <c:pt idx="818">
                  <c:v>41246</c:v>
                </c:pt>
                <c:pt idx="819">
                  <c:v>41247</c:v>
                </c:pt>
                <c:pt idx="820">
                  <c:v>41248</c:v>
                </c:pt>
                <c:pt idx="821">
                  <c:v>41249</c:v>
                </c:pt>
                <c:pt idx="822">
                  <c:v>41250</c:v>
                </c:pt>
                <c:pt idx="823">
                  <c:v>41253</c:v>
                </c:pt>
                <c:pt idx="824">
                  <c:v>41254</c:v>
                </c:pt>
                <c:pt idx="825">
                  <c:v>41255</c:v>
                </c:pt>
                <c:pt idx="826">
                  <c:v>41256</c:v>
                </c:pt>
                <c:pt idx="827">
                  <c:v>41257</c:v>
                </c:pt>
                <c:pt idx="828">
                  <c:v>41260</c:v>
                </c:pt>
                <c:pt idx="829">
                  <c:v>41261</c:v>
                </c:pt>
                <c:pt idx="830">
                  <c:v>41262</c:v>
                </c:pt>
                <c:pt idx="831">
                  <c:v>41263</c:v>
                </c:pt>
                <c:pt idx="832">
                  <c:v>41264</c:v>
                </c:pt>
                <c:pt idx="833">
                  <c:v>41267</c:v>
                </c:pt>
                <c:pt idx="834">
                  <c:v>41270</c:v>
                </c:pt>
                <c:pt idx="835">
                  <c:v>41271</c:v>
                </c:pt>
                <c:pt idx="836">
                  <c:v>41274</c:v>
                </c:pt>
                <c:pt idx="837">
                  <c:v>41276</c:v>
                </c:pt>
                <c:pt idx="838">
                  <c:v>41277</c:v>
                </c:pt>
                <c:pt idx="839">
                  <c:v>41278</c:v>
                </c:pt>
                <c:pt idx="840">
                  <c:v>41281</c:v>
                </c:pt>
                <c:pt idx="841">
                  <c:v>41282</c:v>
                </c:pt>
                <c:pt idx="842">
                  <c:v>41283</c:v>
                </c:pt>
                <c:pt idx="843">
                  <c:v>41284</c:v>
                </c:pt>
                <c:pt idx="844">
                  <c:v>41285</c:v>
                </c:pt>
                <c:pt idx="845">
                  <c:v>41288</c:v>
                </c:pt>
                <c:pt idx="846">
                  <c:v>41289</c:v>
                </c:pt>
                <c:pt idx="847">
                  <c:v>41290</c:v>
                </c:pt>
                <c:pt idx="848">
                  <c:v>41291</c:v>
                </c:pt>
                <c:pt idx="849">
                  <c:v>41292</c:v>
                </c:pt>
                <c:pt idx="850">
                  <c:v>41295</c:v>
                </c:pt>
                <c:pt idx="851">
                  <c:v>41296</c:v>
                </c:pt>
                <c:pt idx="852">
                  <c:v>41297</c:v>
                </c:pt>
                <c:pt idx="853">
                  <c:v>41298</c:v>
                </c:pt>
                <c:pt idx="854">
                  <c:v>41299</c:v>
                </c:pt>
                <c:pt idx="855">
                  <c:v>41302</c:v>
                </c:pt>
                <c:pt idx="856">
                  <c:v>41303</c:v>
                </c:pt>
                <c:pt idx="857">
                  <c:v>41304</c:v>
                </c:pt>
                <c:pt idx="858">
                  <c:v>41305</c:v>
                </c:pt>
                <c:pt idx="859">
                  <c:v>41306</c:v>
                </c:pt>
                <c:pt idx="860">
                  <c:v>41309</c:v>
                </c:pt>
                <c:pt idx="861">
                  <c:v>41310</c:v>
                </c:pt>
                <c:pt idx="862">
                  <c:v>41311</c:v>
                </c:pt>
                <c:pt idx="863">
                  <c:v>41312</c:v>
                </c:pt>
                <c:pt idx="864">
                  <c:v>41313</c:v>
                </c:pt>
                <c:pt idx="865">
                  <c:v>41316</c:v>
                </c:pt>
                <c:pt idx="866">
                  <c:v>41317</c:v>
                </c:pt>
                <c:pt idx="867">
                  <c:v>41318</c:v>
                </c:pt>
                <c:pt idx="868">
                  <c:v>41319</c:v>
                </c:pt>
                <c:pt idx="869">
                  <c:v>41320</c:v>
                </c:pt>
                <c:pt idx="870">
                  <c:v>41323</c:v>
                </c:pt>
                <c:pt idx="871">
                  <c:v>41324</c:v>
                </c:pt>
                <c:pt idx="872">
                  <c:v>41325</c:v>
                </c:pt>
                <c:pt idx="873">
                  <c:v>41326</c:v>
                </c:pt>
                <c:pt idx="874">
                  <c:v>41327</c:v>
                </c:pt>
                <c:pt idx="875">
                  <c:v>41330</c:v>
                </c:pt>
                <c:pt idx="876">
                  <c:v>41331</c:v>
                </c:pt>
                <c:pt idx="877">
                  <c:v>41332</c:v>
                </c:pt>
                <c:pt idx="878">
                  <c:v>41333</c:v>
                </c:pt>
                <c:pt idx="879">
                  <c:v>41334</c:v>
                </c:pt>
                <c:pt idx="880">
                  <c:v>41337</c:v>
                </c:pt>
                <c:pt idx="881">
                  <c:v>41338</c:v>
                </c:pt>
                <c:pt idx="882">
                  <c:v>41339</c:v>
                </c:pt>
                <c:pt idx="883">
                  <c:v>41340</c:v>
                </c:pt>
                <c:pt idx="884">
                  <c:v>41341</c:v>
                </c:pt>
                <c:pt idx="885">
                  <c:v>41344</c:v>
                </c:pt>
                <c:pt idx="886">
                  <c:v>41345</c:v>
                </c:pt>
                <c:pt idx="887">
                  <c:v>41346</c:v>
                </c:pt>
                <c:pt idx="888">
                  <c:v>41347</c:v>
                </c:pt>
                <c:pt idx="889">
                  <c:v>41348</c:v>
                </c:pt>
                <c:pt idx="890">
                  <c:v>41351</c:v>
                </c:pt>
                <c:pt idx="891">
                  <c:v>41352</c:v>
                </c:pt>
                <c:pt idx="892">
                  <c:v>41353</c:v>
                </c:pt>
                <c:pt idx="893">
                  <c:v>41354</c:v>
                </c:pt>
                <c:pt idx="894">
                  <c:v>41355</c:v>
                </c:pt>
                <c:pt idx="895">
                  <c:v>41358</c:v>
                </c:pt>
                <c:pt idx="896">
                  <c:v>41359</c:v>
                </c:pt>
                <c:pt idx="897">
                  <c:v>41360</c:v>
                </c:pt>
                <c:pt idx="898">
                  <c:v>41361</c:v>
                </c:pt>
                <c:pt idx="899">
                  <c:v>41366</c:v>
                </c:pt>
                <c:pt idx="900">
                  <c:v>41367</c:v>
                </c:pt>
                <c:pt idx="901">
                  <c:v>41368</c:v>
                </c:pt>
                <c:pt idx="902">
                  <c:v>41369</c:v>
                </c:pt>
                <c:pt idx="903">
                  <c:v>41372</c:v>
                </c:pt>
                <c:pt idx="904">
                  <c:v>41373</c:v>
                </c:pt>
                <c:pt idx="905">
                  <c:v>41374</c:v>
                </c:pt>
                <c:pt idx="906">
                  <c:v>41375</c:v>
                </c:pt>
                <c:pt idx="907">
                  <c:v>41376</c:v>
                </c:pt>
                <c:pt idx="908">
                  <c:v>41379</c:v>
                </c:pt>
                <c:pt idx="909">
                  <c:v>41380</c:v>
                </c:pt>
                <c:pt idx="910">
                  <c:v>41381</c:v>
                </c:pt>
                <c:pt idx="911">
                  <c:v>41382</c:v>
                </c:pt>
                <c:pt idx="912">
                  <c:v>41383</c:v>
                </c:pt>
                <c:pt idx="913">
                  <c:v>41386</c:v>
                </c:pt>
                <c:pt idx="914">
                  <c:v>41387</c:v>
                </c:pt>
                <c:pt idx="915">
                  <c:v>41388</c:v>
                </c:pt>
                <c:pt idx="916">
                  <c:v>41389</c:v>
                </c:pt>
                <c:pt idx="917">
                  <c:v>41390</c:v>
                </c:pt>
                <c:pt idx="918">
                  <c:v>41393</c:v>
                </c:pt>
                <c:pt idx="919">
                  <c:v>41394</c:v>
                </c:pt>
                <c:pt idx="920">
                  <c:v>41395</c:v>
                </c:pt>
                <c:pt idx="921">
                  <c:v>41396</c:v>
                </c:pt>
                <c:pt idx="922">
                  <c:v>41397</c:v>
                </c:pt>
                <c:pt idx="923">
                  <c:v>41400</c:v>
                </c:pt>
                <c:pt idx="924">
                  <c:v>41401</c:v>
                </c:pt>
                <c:pt idx="925">
                  <c:v>41402</c:v>
                </c:pt>
                <c:pt idx="926">
                  <c:v>41403</c:v>
                </c:pt>
                <c:pt idx="927">
                  <c:v>41404</c:v>
                </c:pt>
                <c:pt idx="928">
                  <c:v>41407</c:v>
                </c:pt>
                <c:pt idx="929">
                  <c:v>41408</c:v>
                </c:pt>
                <c:pt idx="930">
                  <c:v>41409</c:v>
                </c:pt>
                <c:pt idx="931">
                  <c:v>41410</c:v>
                </c:pt>
                <c:pt idx="932">
                  <c:v>41411</c:v>
                </c:pt>
                <c:pt idx="933">
                  <c:v>41414</c:v>
                </c:pt>
                <c:pt idx="934">
                  <c:v>41415</c:v>
                </c:pt>
                <c:pt idx="935">
                  <c:v>41416</c:v>
                </c:pt>
                <c:pt idx="936">
                  <c:v>41417</c:v>
                </c:pt>
                <c:pt idx="937">
                  <c:v>41418</c:v>
                </c:pt>
                <c:pt idx="938">
                  <c:v>41421</c:v>
                </c:pt>
                <c:pt idx="939">
                  <c:v>41422</c:v>
                </c:pt>
                <c:pt idx="940">
                  <c:v>41423</c:v>
                </c:pt>
                <c:pt idx="941">
                  <c:v>41424</c:v>
                </c:pt>
                <c:pt idx="942">
                  <c:v>41425</c:v>
                </c:pt>
                <c:pt idx="943">
                  <c:v>41428</c:v>
                </c:pt>
                <c:pt idx="944">
                  <c:v>41429</c:v>
                </c:pt>
                <c:pt idx="945">
                  <c:v>41430</c:v>
                </c:pt>
                <c:pt idx="946">
                  <c:v>41431</c:v>
                </c:pt>
                <c:pt idx="947">
                  <c:v>41432</c:v>
                </c:pt>
                <c:pt idx="948">
                  <c:v>41435</c:v>
                </c:pt>
                <c:pt idx="949">
                  <c:v>41436</c:v>
                </c:pt>
                <c:pt idx="950">
                  <c:v>41437</c:v>
                </c:pt>
                <c:pt idx="951">
                  <c:v>41438</c:v>
                </c:pt>
                <c:pt idx="952">
                  <c:v>41439</c:v>
                </c:pt>
                <c:pt idx="953">
                  <c:v>41442</c:v>
                </c:pt>
                <c:pt idx="954">
                  <c:v>41443</c:v>
                </c:pt>
                <c:pt idx="955">
                  <c:v>41444</c:v>
                </c:pt>
                <c:pt idx="956">
                  <c:v>41445</c:v>
                </c:pt>
                <c:pt idx="957">
                  <c:v>41446</c:v>
                </c:pt>
                <c:pt idx="958">
                  <c:v>41449</c:v>
                </c:pt>
                <c:pt idx="959">
                  <c:v>41450</c:v>
                </c:pt>
                <c:pt idx="960">
                  <c:v>41451</c:v>
                </c:pt>
                <c:pt idx="961">
                  <c:v>41452</c:v>
                </c:pt>
                <c:pt idx="962">
                  <c:v>41453</c:v>
                </c:pt>
                <c:pt idx="963">
                  <c:v>41456</c:v>
                </c:pt>
                <c:pt idx="964">
                  <c:v>41457</c:v>
                </c:pt>
                <c:pt idx="965">
                  <c:v>41458</c:v>
                </c:pt>
                <c:pt idx="966">
                  <c:v>41459</c:v>
                </c:pt>
                <c:pt idx="967">
                  <c:v>41460</c:v>
                </c:pt>
                <c:pt idx="968">
                  <c:v>41463</c:v>
                </c:pt>
                <c:pt idx="969">
                  <c:v>41464</c:v>
                </c:pt>
                <c:pt idx="970">
                  <c:v>41465</c:v>
                </c:pt>
                <c:pt idx="971">
                  <c:v>41466</c:v>
                </c:pt>
                <c:pt idx="972">
                  <c:v>41467</c:v>
                </c:pt>
                <c:pt idx="973">
                  <c:v>41470</c:v>
                </c:pt>
                <c:pt idx="974">
                  <c:v>41471</c:v>
                </c:pt>
                <c:pt idx="975">
                  <c:v>41472</c:v>
                </c:pt>
                <c:pt idx="976">
                  <c:v>41473</c:v>
                </c:pt>
                <c:pt idx="977">
                  <c:v>41474</c:v>
                </c:pt>
                <c:pt idx="978">
                  <c:v>41477</c:v>
                </c:pt>
                <c:pt idx="979">
                  <c:v>41478</c:v>
                </c:pt>
                <c:pt idx="980">
                  <c:v>41479</c:v>
                </c:pt>
                <c:pt idx="981">
                  <c:v>41480</c:v>
                </c:pt>
                <c:pt idx="982">
                  <c:v>41481</c:v>
                </c:pt>
                <c:pt idx="983">
                  <c:v>41484</c:v>
                </c:pt>
                <c:pt idx="984">
                  <c:v>41485</c:v>
                </c:pt>
                <c:pt idx="985">
                  <c:v>41486</c:v>
                </c:pt>
                <c:pt idx="986">
                  <c:v>41487</c:v>
                </c:pt>
                <c:pt idx="987">
                  <c:v>41488</c:v>
                </c:pt>
                <c:pt idx="988">
                  <c:v>41491</c:v>
                </c:pt>
                <c:pt idx="989">
                  <c:v>41492</c:v>
                </c:pt>
                <c:pt idx="990">
                  <c:v>41493</c:v>
                </c:pt>
                <c:pt idx="991">
                  <c:v>41494</c:v>
                </c:pt>
                <c:pt idx="992">
                  <c:v>41495</c:v>
                </c:pt>
                <c:pt idx="993">
                  <c:v>41498</c:v>
                </c:pt>
                <c:pt idx="994">
                  <c:v>41499</c:v>
                </c:pt>
                <c:pt idx="995">
                  <c:v>41500</c:v>
                </c:pt>
                <c:pt idx="996">
                  <c:v>41501</c:v>
                </c:pt>
                <c:pt idx="997">
                  <c:v>41502</c:v>
                </c:pt>
                <c:pt idx="998">
                  <c:v>41505</c:v>
                </c:pt>
                <c:pt idx="999">
                  <c:v>41506</c:v>
                </c:pt>
                <c:pt idx="1000">
                  <c:v>41507</c:v>
                </c:pt>
                <c:pt idx="1001">
                  <c:v>41508</c:v>
                </c:pt>
                <c:pt idx="1002">
                  <c:v>41509</c:v>
                </c:pt>
                <c:pt idx="1003">
                  <c:v>41512</c:v>
                </c:pt>
                <c:pt idx="1004">
                  <c:v>41513</c:v>
                </c:pt>
                <c:pt idx="1005">
                  <c:v>41514</c:v>
                </c:pt>
                <c:pt idx="1006">
                  <c:v>41515</c:v>
                </c:pt>
                <c:pt idx="1007">
                  <c:v>41516</c:v>
                </c:pt>
                <c:pt idx="1008">
                  <c:v>41519</c:v>
                </c:pt>
                <c:pt idx="1009">
                  <c:v>41520</c:v>
                </c:pt>
                <c:pt idx="1010">
                  <c:v>41521</c:v>
                </c:pt>
                <c:pt idx="1011">
                  <c:v>41522</c:v>
                </c:pt>
                <c:pt idx="1012">
                  <c:v>41523</c:v>
                </c:pt>
                <c:pt idx="1013">
                  <c:v>41526</c:v>
                </c:pt>
                <c:pt idx="1014">
                  <c:v>41527</c:v>
                </c:pt>
                <c:pt idx="1015">
                  <c:v>41528</c:v>
                </c:pt>
                <c:pt idx="1016">
                  <c:v>41529</c:v>
                </c:pt>
                <c:pt idx="1017">
                  <c:v>41530</c:v>
                </c:pt>
                <c:pt idx="1018">
                  <c:v>41533</c:v>
                </c:pt>
                <c:pt idx="1019">
                  <c:v>41534</c:v>
                </c:pt>
                <c:pt idx="1020">
                  <c:v>41535</c:v>
                </c:pt>
                <c:pt idx="1021">
                  <c:v>41536</c:v>
                </c:pt>
                <c:pt idx="1022">
                  <c:v>41537</c:v>
                </c:pt>
                <c:pt idx="1023">
                  <c:v>41540</c:v>
                </c:pt>
                <c:pt idx="1024">
                  <c:v>41541</c:v>
                </c:pt>
                <c:pt idx="1025">
                  <c:v>41542</c:v>
                </c:pt>
                <c:pt idx="1026">
                  <c:v>41543</c:v>
                </c:pt>
                <c:pt idx="1027">
                  <c:v>41544</c:v>
                </c:pt>
                <c:pt idx="1028">
                  <c:v>41547</c:v>
                </c:pt>
                <c:pt idx="1029">
                  <c:v>41548</c:v>
                </c:pt>
                <c:pt idx="1030">
                  <c:v>41549</c:v>
                </c:pt>
                <c:pt idx="1031">
                  <c:v>41550</c:v>
                </c:pt>
                <c:pt idx="1032">
                  <c:v>41551</c:v>
                </c:pt>
                <c:pt idx="1033">
                  <c:v>41554</c:v>
                </c:pt>
                <c:pt idx="1034">
                  <c:v>41555</c:v>
                </c:pt>
                <c:pt idx="1035">
                  <c:v>41556</c:v>
                </c:pt>
                <c:pt idx="1036">
                  <c:v>41557</c:v>
                </c:pt>
                <c:pt idx="1037">
                  <c:v>41558</c:v>
                </c:pt>
                <c:pt idx="1038">
                  <c:v>41561</c:v>
                </c:pt>
                <c:pt idx="1039">
                  <c:v>41562</c:v>
                </c:pt>
                <c:pt idx="1040">
                  <c:v>41563</c:v>
                </c:pt>
                <c:pt idx="1041">
                  <c:v>41564</c:v>
                </c:pt>
                <c:pt idx="1042">
                  <c:v>41565</c:v>
                </c:pt>
                <c:pt idx="1043">
                  <c:v>41568</c:v>
                </c:pt>
                <c:pt idx="1044">
                  <c:v>41569</c:v>
                </c:pt>
                <c:pt idx="1045">
                  <c:v>41570</c:v>
                </c:pt>
                <c:pt idx="1046">
                  <c:v>41571</c:v>
                </c:pt>
                <c:pt idx="1047">
                  <c:v>41572</c:v>
                </c:pt>
                <c:pt idx="1048">
                  <c:v>41575</c:v>
                </c:pt>
                <c:pt idx="1049">
                  <c:v>41576</c:v>
                </c:pt>
                <c:pt idx="1050">
                  <c:v>41577</c:v>
                </c:pt>
                <c:pt idx="1051">
                  <c:v>41578</c:v>
                </c:pt>
                <c:pt idx="1052">
                  <c:v>41579</c:v>
                </c:pt>
                <c:pt idx="1053">
                  <c:v>41582</c:v>
                </c:pt>
                <c:pt idx="1054">
                  <c:v>41583</c:v>
                </c:pt>
                <c:pt idx="1055">
                  <c:v>41584</c:v>
                </c:pt>
                <c:pt idx="1056">
                  <c:v>41585</c:v>
                </c:pt>
                <c:pt idx="1057">
                  <c:v>41586</c:v>
                </c:pt>
                <c:pt idx="1058">
                  <c:v>41589</c:v>
                </c:pt>
                <c:pt idx="1059">
                  <c:v>41590</c:v>
                </c:pt>
                <c:pt idx="1060">
                  <c:v>41591</c:v>
                </c:pt>
                <c:pt idx="1061">
                  <c:v>41592</c:v>
                </c:pt>
                <c:pt idx="1062">
                  <c:v>41593</c:v>
                </c:pt>
                <c:pt idx="1063">
                  <c:v>41596</c:v>
                </c:pt>
                <c:pt idx="1064">
                  <c:v>41597</c:v>
                </c:pt>
                <c:pt idx="1065">
                  <c:v>41598</c:v>
                </c:pt>
                <c:pt idx="1066">
                  <c:v>41599</c:v>
                </c:pt>
                <c:pt idx="1067">
                  <c:v>41600</c:v>
                </c:pt>
                <c:pt idx="1068">
                  <c:v>41603</c:v>
                </c:pt>
                <c:pt idx="1069">
                  <c:v>41604</c:v>
                </c:pt>
                <c:pt idx="1070">
                  <c:v>41605</c:v>
                </c:pt>
                <c:pt idx="1071">
                  <c:v>41606</c:v>
                </c:pt>
                <c:pt idx="1072">
                  <c:v>41607</c:v>
                </c:pt>
                <c:pt idx="1073">
                  <c:v>41610</c:v>
                </c:pt>
                <c:pt idx="1074">
                  <c:v>41611</c:v>
                </c:pt>
                <c:pt idx="1075">
                  <c:v>41612</c:v>
                </c:pt>
                <c:pt idx="1076">
                  <c:v>41613</c:v>
                </c:pt>
                <c:pt idx="1077">
                  <c:v>41614</c:v>
                </c:pt>
                <c:pt idx="1078">
                  <c:v>41617</c:v>
                </c:pt>
                <c:pt idx="1079">
                  <c:v>41618</c:v>
                </c:pt>
                <c:pt idx="1080">
                  <c:v>41619</c:v>
                </c:pt>
                <c:pt idx="1081">
                  <c:v>41620</c:v>
                </c:pt>
                <c:pt idx="1082">
                  <c:v>41621</c:v>
                </c:pt>
                <c:pt idx="1083">
                  <c:v>41624</c:v>
                </c:pt>
                <c:pt idx="1084">
                  <c:v>41625</c:v>
                </c:pt>
                <c:pt idx="1085">
                  <c:v>41626</c:v>
                </c:pt>
                <c:pt idx="1086">
                  <c:v>41627</c:v>
                </c:pt>
                <c:pt idx="1087">
                  <c:v>41628</c:v>
                </c:pt>
                <c:pt idx="1088">
                  <c:v>41631</c:v>
                </c:pt>
                <c:pt idx="1089">
                  <c:v>41632</c:v>
                </c:pt>
                <c:pt idx="1090">
                  <c:v>41635</c:v>
                </c:pt>
                <c:pt idx="1091">
                  <c:v>41638</c:v>
                </c:pt>
                <c:pt idx="1092">
                  <c:v>41639</c:v>
                </c:pt>
                <c:pt idx="1093">
                  <c:v>41641</c:v>
                </c:pt>
                <c:pt idx="1094">
                  <c:v>41642</c:v>
                </c:pt>
                <c:pt idx="1095">
                  <c:v>41645</c:v>
                </c:pt>
                <c:pt idx="1096">
                  <c:v>41646</c:v>
                </c:pt>
                <c:pt idx="1097">
                  <c:v>41647</c:v>
                </c:pt>
                <c:pt idx="1098">
                  <c:v>41648</c:v>
                </c:pt>
                <c:pt idx="1099">
                  <c:v>41649</c:v>
                </c:pt>
                <c:pt idx="1100">
                  <c:v>41652</c:v>
                </c:pt>
                <c:pt idx="1101">
                  <c:v>41653</c:v>
                </c:pt>
                <c:pt idx="1102">
                  <c:v>41654</c:v>
                </c:pt>
                <c:pt idx="1103">
                  <c:v>41655</c:v>
                </c:pt>
                <c:pt idx="1104">
                  <c:v>41656</c:v>
                </c:pt>
                <c:pt idx="1105">
                  <c:v>41659</c:v>
                </c:pt>
                <c:pt idx="1106">
                  <c:v>41660</c:v>
                </c:pt>
                <c:pt idx="1107">
                  <c:v>41661</c:v>
                </c:pt>
                <c:pt idx="1108">
                  <c:v>41662</c:v>
                </c:pt>
                <c:pt idx="1109">
                  <c:v>41663</c:v>
                </c:pt>
                <c:pt idx="1110">
                  <c:v>41666</c:v>
                </c:pt>
                <c:pt idx="1111">
                  <c:v>41667</c:v>
                </c:pt>
                <c:pt idx="1112">
                  <c:v>41668</c:v>
                </c:pt>
                <c:pt idx="1113">
                  <c:v>41669</c:v>
                </c:pt>
                <c:pt idx="1114">
                  <c:v>41670</c:v>
                </c:pt>
                <c:pt idx="1115">
                  <c:v>41673</c:v>
                </c:pt>
                <c:pt idx="1116">
                  <c:v>41674</c:v>
                </c:pt>
                <c:pt idx="1117">
                  <c:v>41675</c:v>
                </c:pt>
                <c:pt idx="1118">
                  <c:v>41676</c:v>
                </c:pt>
                <c:pt idx="1119">
                  <c:v>41677</c:v>
                </c:pt>
                <c:pt idx="1120">
                  <c:v>41680</c:v>
                </c:pt>
                <c:pt idx="1121">
                  <c:v>41681</c:v>
                </c:pt>
                <c:pt idx="1122">
                  <c:v>41682</c:v>
                </c:pt>
                <c:pt idx="1123">
                  <c:v>41683</c:v>
                </c:pt>
                <c:pt idx="1124">
                  <c:v>41684</c:v>
                </c:pt>
                <c:pt idx="1125">
                  <c:v>41687</c:v>
                </c:pt>
                <c:pt idx="1126">
                  <c:v>41688</c:v>
                </c:pt>
                <c:pt idx="1127">
                  <c:v>41689</c:v>
                </c:pt>
                <c:pt idx="1128">
                  <c:v>41690</c:v>
                </c:pt>
                <c:pt idx="1129">
                  <c:v>41691</c:v>
                </c:pt>
                <c:pt idx="1130">
                  <c:v>41694</c:v>
                </c:pt>
                <c:pt idx="1131">
                  <c:v>41695</c:v>
                </c:pt>
                <c:pt idx="1132">
                  <c:v>41696</c:v>
                </c:pt>
                <c:pt idx="1133">
                  <c:v>41697</c:v>
                </c:pt>
                <c:pt idx="1134">
                  <c:v>41698</c:v>
                </c:pt>
                <c:pt idx="1135">
                  <c:v>41701</c:v>
                </c:pt>
                <c:pt idx="1136">
                  <c:v>41702</c:v>
                </c:pt>
                <c:pt idx="1137">
                  <c:v>41703</c:v>
                </c:pt>
                <c:pt idx="1138">
                  <c:v>41704</c:v>
                </c:pt>
                <c:pt idx="1139">
                  <c:v>41705</c:v>
                </c:pt>
                <c:pt idx="1140">
                  <c:v>41708</c:v>
                </c:pt>
                <c:pt idx="1141">
                  <c:v>41709</c:v>
                </c:pt>
                <c:pt idx="1142">
                  <c:v>41710</c:v>
                </c:pt>
                <c:pt idx="1143">
                  <c:v>41711</c:v>
                </c:pt>
                <c:pt idx="1144">
                  <c:v>41712</c:v>
                </c:pt>
                <c:pt idx="1145">
                  <c:v>41715</c:v>
                </c:pt>
                <c:pt idx="1146">
                  <c:v>41716</c:v>
                </c:pt>
                <c:pt idx="1147">
                  <c:v>41717</c:v>
                </c:pt>
                <c:pt idx="1148">
                  <c:v>41718</c:v>
                </c:pt>
                <c:pt idx="1149">
                  <c:v>41719</c:v>
                </c:pt>
                <c:pt idx="1150">
                  <c:v>41722</c:v>
                </c:pt>
                <c:pt idx="1151">
                  <c:v>41723</c:v>
                </c:pt>
                <c:pt idx="1152">
                  <c:v>41724</c:v>
                </c:pt>
                <c:pt idx="1153">
                  <c:v>41725</c:v>
                </c:pt>
                <c:pt idx="1154">
                  <c:v>41726</c:v>
                </c:pt>
                <c:pt idx="1155">
                  <c:v>41729</c:v>
                </c:pt>
                <c:pt idx="1156">
                  <c:v>41730</c:v>
                </c:pt>
                <c:pt idx="1157">
                  <c:v>41731</c:v>
                </c:pt>
                <c:pt idx="1158">
                  <c:v>41732</c:v>
                </c:pt>
                <c:pt idx="1159">
                  <c:v>41733</c:v>
                </c:pt>
                <c:pt idx="1160">
                  <c:v>41736</c:v>
                </c:pt>
                <c:pt idx="1161">
                  <c:v>41737</c:v>
                </c:pt>
                <c:pt idx="1162">
                  <c:v>41738</c:v>
                </c:pt>
                <c:pt idx="1163">
                  <c:v>41739</c:v>
                </c:pt>
                <c:pt idx="1164">
                  <c:v>41740</c:v>
                </c:pt>
                <c:pt idx="1165">
                  <c:v>41743</c:v>
                </c:pt>
                <c:pt idx="1166">
                  <c:v>41744</c:v>
                </c:pt>
                <c:pt idx="1167">
                  <c:v>41745</c:v>
                </c:pt>
                <c:pt idx="1168">
                  <c:v>41746</c:v>
                </c:pt>
                <c:pt idx="1169">
                  <c:v>41751</c:v>
                </c:pt>
                <c:pt idx="1170">
                  <c:v>41752</c:v>
                </c:pt>
                <c:pt idx="1171">
                  <c:v>41753</c:v>
                </c:pt>
                <c:pt idx="1172">
                  <c:v>41754</c:v>
                </c:pt>
                <c:pt idx="1173">
                  <c:v>41757</c:v>
                </c:pt>
                <c:pt idx="1174">
                  <c:v>41758</c:v>
                </c:pt>
                <c:pt idx="1175">
                  <c:v>41759</c:v>
                </c:pt>
                <c:pt idx="1176">
                  <c:v>41760</c:v>
                </c:pt>
                <c:pt idx="1177">
                  <c:v>41761</c:v>
                </c:pt>
                <c:pt idx="1178">
                  <c:v>41764</c:v>
                </c:pt>
                <c:pt idx="1179">
                  <c:v>41765</c:v>
                </c:pt>
                <c:pt idx="1180">
                  <c:v>41766</c:v>
                </c:pt>
                <c:pt idx="1181">
                  <c:v>41767</c:v>
                </c:pt>
                <c:pt idx="1182">
                  <c:v>41768</c:v>
                </c:pt>
                <c:pt idx="1183">
                  <c:v>41771</c:v>
                </c:pt>
                <c:pt idx="1184">
                  <c:v>41772</c:v>
                </c:pt>
                <c:pt idx="1185">
                  <c:v>41773</c:v>
                </c:pt>
                <c:pt idx="1186">
                  <c:v>41774</c:v>
                </c:pt>
                <c:pt idx="1187">
                  <c:v>41775</c:v>
                </c:pt>
                <c:pt idx="1188">
                  <c:v>41778</c:v>
                </c:pt>
                <c:pt idx="1189">
                  <c:v>41779</c:v>
                </c:pt>
                <c:pt idx="1190">
                  <c:v>41780</c:v>
                </c:pt>
                <c:pt idx="1191">
                  <c:v>41781</c:v>
                </c:pt>
                <c:pt idx="1192">
                  <c:v>41782</c:v>
                </c:pt>
                <c:pt idx="1193">
                  <c:v>41785</c:v>
                </c:pt>
                <c:pt idx="1194">
                  <c:v>41786</c:v>
                </c:pt>
                <c:pt idx="1195">
                  <c:v>41787</c:v>
                </c:pt>
                <c:pt idx="1196">
                  <c:v>41788</c:v>
                </c:pt>
                <c:pt idx="1197">
                  <c:v>41789</c:v>
                </c:pt>
                <c:pt idx="1198">
                  <c:v>41792</c:v>
                </c:pt>
                <c:pt idx="1199">
                  <c:v>41793</c:v>
                </c:pt>
                <c:pt idx="1200">
                  <c:v>41794</c:v>
                </c:pt>
                <c:pt idx="1201">
                  <c:v>41795</c:v>
                </c:pt>
                <c:pt idx="1202">
                  <c:v>41796</c:v>
                </c:pt>
                <c:pt idx="1203">
                  <c:v>41799</c:v>
                </c:pt>
                <c:pt idx="1204">
                  <c:v>41800</c:v>
                </c:pt>
                <c:pt idx="1205">
                  <c:v>41801</c:v>
                </c:pt>
                <c:pt idx="1206">
                  <c:v>41802</c:v>
                </c:pt>
                <c:pt idx="1207">
                  <c:v>41803</c:v>
                </c:pt>
                <c:pt idx="1208">
                  <c:v>41806</c:v>
                </c:pt>
                <c:pt idx="1209">
                  <c:v>41807</c:v>
                </c:pt>
                <c:pt idx="1210">
                  <c:v>41808</c:v>
                </c:pt>
                <c:pt idx="1211">
                  <c:v>41809</c:v>
                </c:pt>
                <c:pt idx="1212">
                  <c:v>41810</c:v>
                </c:pt>
                <c:pt idx="1213">
                  <c:v>41813</c:v>
                </c:pt>
                <c:pt idx="1214">
                  <c:v>41814</c:v>
                </c:pt>
                <c:pt idx="1215">
                  <c:v>41815</c:v>
                </c:pt>
                <c:pt idx="1216">
                  <c:v>41816</c:v>
                </c:pt>
                <c:pt idx="1217">
                  <c:v>41817</c:v>
                </c:pt>
                <c:pt idx="1218">
                  <c:v>41820</c:v>
                </c:pt>
                <c:pt idx="1219">
                  <c:v>41821</c:v>
                </c:pt>
                <c:pt idx="1220">
                  <c:v>41822</c:v>
                </c:pt>
                <c:pt idx="1221">
                  <c:v>41823</c:v>
                </c:pt>
                <c:pt idx="1222">
                  <c:v>41824</c:v>
                </c:pt>
                <c:pt idx="1223">
                  <c:v>41827</c:v>
                </c:pt>
                <c:pt idx="1224">
                  <c:v>41828</c:v>
                </c:pt>
                <c:pt idx="1225">
                  <c:v>41829</c:v>
                </c:pt>
                <c:pt idx="1226">
                  <c:v>41830</c:v>
                </c:pt>
                <c:pt idx="1227">
                  <c:v>41831</c:v>
                </c:pt>
                <c:pt idx="1228">
                  <c:v>41834</c:v>
                </c:pt>
                <c:pt idx="1229">
                  <c:v>41835</c:v>
                </c:pt>
                <c:pt idx="1230">
                  <c:v>41836</c:v>
                </c:pt>
                <c:pt idx="1231">
                  <c:v>41837</c:v>
                </c:pt>
                <c:pt idx="1232">
                  <c:v>41838</c:v>
                </c:pt>
                <c:pt idx="1233">
                  <c:v>41841</c:v>
                </c:pt>
                <c:pt idx="1234">
                  <c:v>41842</c:v>
                </c:pt>
                <c:pt idx="1235">
                  <c:v>41843</c:v>
                </c:pt>
                <c:pt idx="1236">
                  <c:v>41844</c:v>
                </c:pt>
                <c:pt idx="1237">
                  <c:v>41845</c:v>
                </c:pt>
                <c:pt idx="1238">
                  <c:v>41848</c:v>
                </c:pt>
                <c:pt idx="1239">
                  <c:v>41849</c:v>
                </c:pt>
                <c:pt idx="1240">
                  <c:v>41850</c:v>
                </c:pt>
                <c:pt idx="1241">
                  <c:v>41851</c:v>
                </c:pt>
                <c:pt idx="1242">
                  <c:v>41852</c:v>
                </c:pt>
                <c:pt idx="1243">
                  <c:v>41855</c:v>
                </c:pt>
                <c:pt idx="1244">
                  <c:v>41856</c:v>
                </c:pt>
                <c:pt idx="1245">
                  <c:v>41857</c:v>
                </c:pt>
              </c:numCache>
            </c:numRef>
          </c:cat>
          <c:val>
            <c:numRef>
              <c:f>Sheet1!$B$2:$B$1247</c:f>
              <c:numCache>
                <c:formatCode>General</c:formatCode>
                <c:ptCount val="1246"/>
                <c:pt idx="0">
                  <c:v>100</c:v>
                </c:pt>
                <c:pt idx="1">
                  <c:v>99.242083820137211</c:v>
                </c:pt>
                <c:pt idx="2">
                  <c:v>99.867332571565527</c:v>
                </c:pt>
                <c:pt idx="3">
                  <c:v>101.50299357632871</c:v>
                </c:pt>
                <c:pt idx="4">
                  <c:v>102.26647322899683</c:v>
                </c:pt>
                <c:pt idx="5">
                  <c:v>103.21140768700758</c:v>
                </c:pt>
                <c:pt idx="6">
                  <c:v>103.13137927050033</c:v>
                </c:pt>
                <c:pt idx="7">
                  <c:v>103.46989519273153</c:v>
                </c:pt>
                <c:pt idx="8">
                  <c:v>103.53451706916252</c:v>
                </c:pt>
                <c:pt idx="9">
                  <c:v>105.0644720906247</c:v>
                </c:pt>
                <c:pt idx="10">
                  <c:v>104.33522919368158</c:v>
                </c:pt>
                <c:pt idx="11">
                  <c:v>104.58173383490181</c:v>
                </c:pt>
                <c:pt idx="12">
                  <c:v>105.39656862115746</c:v>
                </c:pt>
                <c:pt idx="13">
                  <c:v>105.12310253480382</c:v>
                </c:pt>
                <c:pt idx="14">
                  <c:v>104.37759717889132</c:v>
                </c:pt>
                <c:pt idx="15">
                  <c:v>103.6522059169673</c:v>
                </c:pt>
                <c:pt idx="16">
                  <c:v>104.6416481574206</c:v>
                </c:pt>
                <c:pt idx="17">
                  <c:v>104.45676967650546</c:v>
                </c:pt>
                <c:pt idx="18">
                  <c:v>103.37574411448772</c:v>
                </c:pt>
                <c:pt idx="19">
                  <c:v>101.27788690743667</c:v>
                </c:pt>
                <c:pt idx="20">
                  <c:v>100.52339440314636</c:v>
                </c:pt>
                <c:pt idx="21">
                  <c:v>101.00228102385019</c:v>
                </c:pt>
                <c:pt idx="22">
                  <c:v>100.78573354388938</c:v>
                </c:pt>
                <c:pt idx="23">
                  <c:v>99.874179922710525</c:v>
                </c:pt>
                <c:pt idx="24">
                  <c:v>100.90556218892696</c:v>
                </c:pt>
                <c:pt idx="25">
                  <c:v>100.63894345371831</c:v>
                </c:pt>
                <c:pt idx="26">
                  <c:v>102.01782879054382</c:v>
                </c:pt>
                <c:pt idx="27">
                  <c:v>103.62224875570791</c:v>
                </c:pt>
                <c:pt idx="28">
                  <c:v>103.78872498042084</c:v>
                </c:pt>
                <c:pt idx="29">
                  <c:v>104.98273183633118</c:v>
                </c:pt>
                <c:pt idx="30">
                  <c:v>104.57231872707742</c:v>
                </c:pt>
                <c:pt idx="31">
                  <c:v>104.85947951572108</c:v>
                </c:pt>
                <c:pt idx="32">
                  <c:v>107.08058904338225</c:v>
                </c:pt>
                <c:pt idx="33">
                  <c:v>106.77844967410888</c:v>
                </c:pt>
                <c:pt idx="34">
                  <c:v>106.5708893425259</c:v>
                </c:pt>
                <c:pt idx="35">
                  <c:v>105.70127574711019</c:v>
                </c:pt>
                <c:pt idx="36">
                  <c:v>105.90926403813974</c:v>
                </c:pt>
                <c:pt idx="37">
                  <c:v>106.87431259013896</c:v>
                </c:pt>
                <c:pt idx="38">
                  <c:v>105.74706740789243</c:v>
                </c:pt>
                <c:pt idx="39">
                  <c:v>107.01040369414594</c:v>
                </c:pt>
                <c:pt idx="40">
                  <c:v>105.52452849567975</c:v>
                </c:pt>
                <c:pt idx="41">
                  <c:v>105.01226103814403</c:v>
                </c:pt>
                <c:pt idx="42">
                  <c:v>104.69171941266846</c:v>
                </c:pt>
                <c:pt idx="43">
                  <c:v>106.77545395798293</c:v>
                </c:pt>
                <c:pt idx="44">
                  <c:v>107.12980437973698</c:v>
                </c:pt>
                <c:pt idx="45">
                  <c:v>107.83636542601222</c:v>
                </c:pt>
                <c:pt idx="46">
                  <c:v>107.34421206246496</c:v>
                </c:pt>
                <c:pt idx="47">
                  <c:v>106.8058390786889</c:v>
                </c:pt>
                <c:pt idx="48">
                  <c:v>106.37787963212604</c:v>
                </c:pt>
                <c:pt idx="49">
                  <c:v>106.1112608969174</c:v>
                </c:pt>
                <c:pt idx="50">
                  <c:v>106.22595402859625</c:v>
                </c:pt>
                <c:pt idx="51">
                  <c:v>107.0557673954816</c:v>
                </c:pt>
                <c:pt idx="52">
                  <c:v>107.24749322754175</c:v>
                </c:pt>
                <c:pt idx="53">
                  <c:v>107.13493989309572</c:v>
                </c:pt>
                <c:pt idx="54">
                  <c:v>107.67331287687179</c:v>
                </c:pt>
                <c:pt idx="55">
                  <c:v>107.0638986249663</c:v>
                </c:pt>
                <c:pt idx="56">
                  <c:v>106.83750807773455</c:v>
                </c:pt>
                <c:pt idx="57">
                  <c:v>105.79842254147995</c:v>
                </c:pt>
                <c:pt idx="58">
                  <c:v>106.929091399299</c:v>
                </c:pt>
                <c:pt idx="59">
                  <c:v>107.0121155319322</c:v>
                </c:pt>
                <c:pt idx="60">
                  <c:v>107.29799244223616</c:v>
                </c:pt>
                <c:pt idx="61">
                  <c:v>108.34478124852889</c:v>
                </c:pt>
                <c:pt idx="62">
                  <c:v>109.19171299327675</c:v>
                </c:pt>
                <c:pt idx="63">
                  <c:v>109.09841783392605</c:v>
                </c:pt>
                <c:pt idx="64">
                  <c:v>109.38686250090942</c:v>
                </c:pt>
                <c:pt idx="65">
                  <c:v>110.40840169985493</c:v>
                </c:pt>
                <c:pt idx="66">
                  <c:v>111.41153864259823</c:v>
                </c:pt>
                <c:pt idx="67">
                  <c:v>111.67558962112749</c:v>
                </c:pt>
                <c:pt idx="68">
                  <c:v>111.2608969174081</c:v>
                </c:pt>
                <c:pt idx="69">
                  <c:v>111.47658847847579</c:v>
                </c:pt>
                <c:pt idx="70">
                  <c:v>112.86702872035845</c:v>
                </c:pt>
                <c:pt idx="71">
                  <c:v>112.73264945413773</c:v>
                </c:pt>
                <c:pt idx="72">
                  <c:v>111.78685907723384</c:v>
                </c:pt>
                <c:pt idx="73">
                  <c:v>112.43521763877654</c:v>
                </c:pt>
                <c:pt idx="74">
                  <c:v>112.38429046463558</c:v>
                </c:pt>
                <c:pt idx="75">
                  <c:v>112.50069543410066</c:v>
                </c:pt>
                <c:pt idx="76">
                  <c:v>112.18956891644947</c:v>
                </c:pt>
                <c:pt idx="77">
                  <c:v>111.06703128811513</c:v>
                </c:pt>
                <c:pt idx="78">
                  <c:v>109.5250934021492</c:v>
                </c:pt>
                <c:pt idx="79">
                  <c:v>108.26689262925446</c:v>
                </c:pt>
                <c:pt idx="80">
                  <c:v>107.74863373946684</c:v>
                </c:pt>
                <c:pt idx="81">
                  <c:v>105.45562702478313</c:v>
                </c:pt>
                <c:pt idx="82">
                  <c:v>104.2650438444453</c:v>
                </c:pt>
                <c:pt idx="83">
                  <c:v>105.95890733394103</c:v>
                </c:pt>
                <c:pt idx="84">
                  <c:v>105.50912195560349</c:v>
                </c:pt>
                <c:pt idx="85">
                  <c:v>105.11839498089162</c:v>
                </c:pt>
                <c:pt idx="86">
                  <c:v>104.81497173327854</c:v>
                </c:pt>
                <c:pt idx="87">
                  <c:v>106.54050422181993</c:v>
                </c:pt>
                <c:pt idx="88">
                  <c:v>105.00284593031965</c:v>
                </c:pt>
                <c:pt idx="89">
                  <c:v>102.68672940552153</c:v>
                </c:pt>
                <c:pt idx="90">
                  <c:v>102.56005340933892</c:v>
                </c:pt>
                <c:pt idx="91">
                  <c:v>103.34065143986955</c:v>
                </c:pt>
                <c:pt idx="92">
                  <c:v>103.39757004626242</c:v>
                </c:pt>
                <c:pt idx="93">
                  <c:v>104.37631330055164</c:v>
                </c:pt>
                <c:pt idx="94">
                  <c:v>104.45890947373829</c:v>
                </c:pt>
                <c:pt idx="95">
                  <c:v>104.2064134002662</c:v>
                </c:pt>
                <c:pt idx="96">
                  <c:v>104.89500014978582</c:v>
                </c:pt>
                <c:pt idx="97">
                  <c:v>106.22680994748939</c:v>
                </c:pt>
                <c:pt idx="98">
                  <c:v>105.38030616218805</c:v>
                </c:pt>
                <c:pt idx="99">
                  <c:v>105.10897987306724</c:v>
                </c:pt>
                <c:pt idx="100">
                  <c:v>105.88572626857878</c:v>
                </c:pt>
                <c:pt idx="101">
                  <c:v>106.25205955483659</c:v>
                </c:pt>
                <c:pt idx="102">
                  <c:v>106.20198829958873</c:v>
                </c:pt>
                <c:pt idx="103">
                  <c:v>105.74706740789243</c:v>
                </c:pt>
                <c:pt idx="104">
                  <c:v>106.00084735970418</c:v>
                </c:pt>
                <c:pt idx="105">
                  <c:v>106.73693760779229</c:v>
                </c:pt>
                <c:pt idx="106">
                  <c:v>107.783726414085</c:v>
                </c:pt>
                <c:pt idx="107">
                  <c:v>108.24121506246067</c:v>
                </c:pt>
                <c:pt idx="108">
                  <c:v>108.25448180530412</c:v>
                </c:pt>
                <c:pt idx="109">
                  <c:v>109.32523634060436</c:v>
                </c:pt>
                <c:pt idx="110">
                  <c:v>110.80640398515835</c:v>
                </c:pt>
                <c:pt idx="111">
                  <c:v>110.70155392075047</c:v>
                </c:pt>
                <c:pt idx="112">
                  <c:v>111.55276525996396</c:v>
                </c:pt>
                <c:pt idx="113">
                  <c:v>111.94006855910334</c:v>
                </c:pt>
                <c:pt idx="114">
                  <c:v>112.08942640595376</c:v>
                </c:pt>
                <c:pt idx="115">
                  <c:v>111.37473413019383</c:v>
                </c:pt>
                <c:pt idx="116">
                  <c:v>112.32865573658239</c:v>
                </c:pt>
                <c:pt idx="117">
                  <c:v>114.57373099325108</c:v>
                </c:pt>
                <c:pt idx="118">
                  <c:v>113.4884258367677</c:v>
                </c:pt>
                <c:pt idx="119">
                  <c:v>113.2881408157763</c:v>
                </c:pt>
                <c:pt idx="120">
                  <c:v>112.54691505432946</c:v>
                </c:pt>
                <c:pt idx="121">
                  <c:v>114.41966559248846</c:v>
                </c:pt>
                <c:pt idx="122">
                  <c:v>114.42137743027472</c:v>
                </c:pt>
                <c:pt idx="123">
                  <c:v>114.72779639401369</c:v>
                </c:pt>
                <c:pt idx="124">
                  <c:v>115.2494789593738</c:v>
                </c:pt>
                <c:pt idx="125">
                  <c:v>116.16830789114422</c:v>
                </c:pt>
                <c:pt idx="126">
                  <c:v>116.74476926566439</c:v>
                </c:pt>
                <c:pt idx="127">
                  <c:v>115.8126735910505</c:v>
                </c:pt>
                <c:pt idx="128">
                  <c:v>118.41680682338543</c:v>
                </c:pt>
                <c:pt idx="129">
                  <c:v>120.23520651183092</c:v>
                </c:pt>
                <c:pt idx="130">
                  <c:v>120.79112583291607</c:v>
                </c:pt>
                <c:pt idx="131">
                  <c:v>119.29883124275142</c:v>
                </c:pt>
                <c:pt idx="132">
                  <c:v>120.30410798272754</c:v>
                </c:pt>
                <c:pt idx="133">
                  <c:v>120.2330667145981</c:v>
                </c:pt>
                <c:pt idx="134">
                  <c:v>119.80168359246277</c:v>
                </c:pt>
                <c:pt idx="135">
                  <c:v>122.27871286916852</c:v>
                </c:pt>
                <c:pt idx="136">
                  <c:v>122.66130861439571</c:v>
                </c:pt>
                <c:pt idx="137">
                  <c:v>121.89654508338789</c:v>
                </c:pt>
                <c:pt idx="138">
                  <c:v>119.61637715210107</c:v>
                </c:pt>
                <c:pt idx="139">
                  <c:v>122.04205129521925</c:v>
                </c:pt>
                <c:pt idx="140">
                  <c:v>121.69112454903772</c:v>
                </c:pt>
                <c:pt idx="141">
                  <c:v>121.76901316831217</c:v>
                </c:pt>
                <c:pt idx="142">
                  <c:v>121.96287879760513</c:v>
                </c:pt>
                <c:pt idx="143">
                  <c:v>122.9168004039937</c:v>
                </c:pt>
                <c:pt idx="144">
                  <c:v>122.64076656096069</c:v>
                </c:pt>
                <c:pt idx="145">
                  <c:v>120.02636230190826</c:v>
                </c:pt>
                <c:pt idx="146">
                  <c:v>121.25760162966957</c:v>
                </c:pt>
                <c:pt idx="147">
                  <c:v>121.98770044550578</c:v>
                </c:pt>
                <c:pt idx="148">
                  <c:v>121.14290849799072</c:v>
                </c:pt>
                <c:pt idx="149">
                  <c:v>120.82193891306861</c:v>
                </c:pt>
                <c:pt idx="150">
                  <c:v>118.33720636632472</c:v>
                </c:pt>
                <c:pt idx="151">
                  <c:v>116.69298617263028</c:v>
                </c:pt>
                <c:pt idx="152">
                  <c:v>114.96745368408889</c:v>
                </c:pt>
                <c:pt idx="153">
                  <c:v>119.03264046698936</c:v>
                </c:pt>
                <c:pt idx="154">
                  <c:v>117.74234273560238</c:v>
                </c:pt>
                <c:pt idx="155">
                  <c:v>118.81523706813543</c:v>
                </c:pt>
                <c:pt idx="156">
                  <c:v>118.46687807863326</c:v>
                </c:pt>
                <c:pt idx="157">
                  <c:v>118.24776284199308</c:v>
                </c:pt>
                <c:pt idx="158">
                  <c:v>117.12051765974655</c:v>
                </c:pt>
                <c:pt idx="159">
                  <c:v>117.62251409056476</c:v>
                </c:pt>
                <c:pt idx="160">
                  <c:v>114.97515695412703</c:v>
                </c:pt>
                <c:pt idx="161">
                  <c:v>113.49056563400053</c:v>
                </c:pt>
                <c:pt idx="162">
                  <c:v>111.49285093744517</c:v>
                </c:pt>
                <c:pt idx="163">
                  <c:v>111.04691719412669</c:v>
                </c:pt>
                <c:pt idx="164">
                  <c:v>107.0570512738213</c:v>
                </c:pt>
                <c:pt idx="165">
                  <c:v>108.72052964261107</c:v>
                </c:pt>
                <c:pt idx="166">
                  <c:v>110.40155434870991</c:v>
                </c:pt>
                <c:pt idx="167">
                  <c:v>110.46788806292716</c:v>
                </c:pt>
                <c:pt idx="168">
                  <c:v>113.11267744268554</c:v>
                </c:pt>
                <c:pt idx="169">
                  <c:v>110.73964231149456</c:v>
                </c:pt>
                <c:pt idx="170">
                  <c:v>111.29384979479345</c:v>
                </c:pt>
                <c:pt idx="171">
                  <c:v>113.88685608151769</c:v>
                </c:pt>
                <c:pt idx="172">
                  <c:v>114.02936657722313</c:v>
                </c:pt>
                <c:pt idx="173">
                  <c:v>111.11539070557674</c:v>
                </c:pt>
                <c:pt idx="174">
                  <c:v>111.2621807957478</c:v>
                </c:pt>
                <c:pt idx="175">
                  <c:v>111.62979796034527</c:v>
                </c:pt>
                <c:pt idx="176">
                  <c:v>112.49256420461597</c:v>
                </c:pt>
                <c:pt idx="177">
                  <c:v>113.36388963781792</c:v>
                </c:pt>
                <c:pt idx="178">
                  <c:v>114.8026892971622</c:v>
                </c:pt>
                <c:pt idx="179">
                  <c:v>114.74919436634184</c:v>
                </c:pt>
                <c:pt idx="180">
                  <c:v>115.86060504906554</c:v>
                </c:pt>
                <c:pt idx="181">
                  <c:v>116.2192350652852</c:v>
                </c:pt>
                <c:pt idx="182">
                  <c:v>117.30839185678765</c:v>
                </c:pt>
                <c:pt idx="183">
                  <c:v>119.81495033530622</c:v>
                </c:pt>
                <c:pt idx="184">
                  <c:v>118.80924563588353</c:v>
                </c:pt>
                <c:pt idx="185">
                  <c:v>118.18613668168803</c:v>
                </c:pt>
                <c:pt idx="186">
                  <c:v>117.03278597320117</c:v>
                </c:pt>
                <c:pt idx="187">
                  <c:v>117.43121621795119</c:v>
                </c:pt>
                <c:pt idx="188">
                  <c:v>119.01595004857339</c:v>
                </c:pt>
                <c:pt idx="189">
                  <c:v>117.15903400993722</c:v>
                </c:pt>
                <c:pt idx="190">
                  <c:v>117.53948995793159</c:v>
                </c:pt>
                <c:pt idx="191">
                  <c:v>116.91124549037733</c:v>
                </c:pt>
                <c:pt idx="192">
                  <c:v>117.61224306384727</c:v>
                </c:pt>
                <c:pt idx="193">
                  <c:v>117.30154450564262</c:v>
                </c:pt>
                <c:pt idx="194">
                  <c:v>118.73478069218162</c:v>
                </c:pt>
                <c:pt idx="195">
                  <c:v>118.2293605857909</c:v>
                </c:pt>
                <c:pt idx="196">
                  <c:v>119.47343869694906</c:v>
                </c:pt>
                <c:pt idx="197">
                  <c:v>120.40895804713546</c:v>
                </c:pt>
                <c:pt idx="198">
                  <c:v>120.13121236631616</c:v>
                </c:pt>
                <c:pt idx="199">
                  <c:v>120.68969944408067</c:v>
                </c:pt>
                <c:pt idx="200">
                  <c:v>121.83577484197596</c:v>
                </c:pt>
                <c:pt idx="201">
                  <c:v>122.04290721411238</c:v>
                </c:pt>
                <c:pt idx="202">
                  <c:v>122.6886980189757</c:v>
                </c:pt>
                <c:pt idx="203">
                  <c:v>121.15574728138763</c:v>
                </c:pt>
                <c:pt idx="204">
                  <c:v>121.22379283339112</c:v>
                </c:pt>
                <c:pt idx="205">
                  <c:v>120.2608840786247</c:v>
                </c:pt>
                <c:pt idx="206">
                  <c:v>120.75560519885136</c:v>
                </c:pt>
                <c:pt idx="207">
                  <c:v>122.01295005285297</c:v>
                </c:pt>
                <c:pt idx="208">
                  <c:v>122.2663020452182</c:v>
                </c:pt>
                <c:pt idx="209">
                  <c:v>123.64518738204366</c:v>
                </c:pt>
                <c:pt idx="210">
                  <c:v>123.48684238681543</c:v>
                </c:pt>
                <c:pt idx="211">
                  <c:v>124.39925192688742</c:v>
                </c:pt>
                <c:pt idx="212">
                  <c:v>124.18013669024721</c:v>
                </c:pt>
                <c:pt idx="213">
                  <c:v>125.13962176944111</c:v>
                </c:pt>
                <c:pt idx="214">
                  <c:v>124.56530019215377</c:v>
                </c:pt>
                <c:pt idx="215">
                  <c:v>124.3427612799411</c:v>
                </c:pt>
                <c:pt idx="216">
                  <c:v>124.87214711533935</c:v>
                </c:pt>
                <c:pt idx="217">
                  <c:v>125.0882666358536</c:v>
                </c:pt>
                <c:pt idx="218">
                  <c:v>125.57913612106115</c:v>
                </c:pt>
                <c:pt idx="219">
                  <c:v>124.01194862774803</c:v>
                </c:pt>
                <c:pt idx="220">
                  <c:v>122.54190792880466</c:v>
                </c:pt>
                <c:pt idx="221">
                  <c:v>122.09297846936022</c:v>
                </c:pt>
                <c:pt idx="222">
                  <c:v>122.80595890733395</c:v>
                </c:pt>
                <c:pt idx="223">
                  <c:v>122.58855550848</c:v>
                </c:pt>
                <c:pt idx="224">
                  <c:v>122.97286309149345</c:v>
                </c:pt>
                <c:pt idx="225">
                  <c:v>123.73420294692876</c:v>
                </c:pt>
                <c:pt idx="226">
                  <c:v>124.89825264157967</c:v>
                </c:pt>
                <c:pt idx="227">
                  <c:v>124.65773943261136</c:v>
                </c:pt>
                <c:pt idx="228">
                  <c:v>124.87385895312559</c:v>
                </c:pt>
                <c:pt idx="229">
                  <c:v>123.89425977994324</c:v>
                </c:pt>
                <c:pt idx="230">
                  <c:v>123.8245023901535</c:v>
                </c:pt>
                <c:pt idx="231">
                  <c:v>124.48869545121903</c:v>
                </c:pt>
                <c:pt idx="232">
                  <c:v>124.95431532907941</c:v>
                </c:pt>
                <c:pt idx="233">
                  <c:v>125.46957850274107</c:v>
                </c:pt>
                <c:pt idx="234">
                  <c:v>125.48455708337076</c:v>
                </c:pt>
                <c:pt idx="235">
                  <c:v>127.71936131332195</c:v>
                </c:pt>
                <c:pt idx="236">
                  <c:v>127.44332747028891</c:v>
                </c:pt>
                <c:pt idx="237">
                  <c:v>129.8043797369761</c:v>
                </c:pt>
                <c:pt idx="238">
                  <c:v>131.54403488725407</c:v>
                </c:pt>
                <c:pt idx="239">
                  <c:v>130.96543371550112</c:v>
                </c:pt>
                <c:pt idx="240">
                  <c:v>131.21921366731289</c:v>
                </c:pt>
                <c:pt idx="241">
                  <c:v>131.49952710481153</c:v>
                </c:pt>
                <c:pt idx="242">
                  <c:v>131.76101032666145</c:v>
                </c:pt>
                <c:pt idx="243">
                  <c:v>133.50109343638596</c:v>
                </c:pt>
                <c:pt idx="244">
                  <c:v>132.91607287293456</c:v>
                </c:pt>
                <c:pt idx="245">
                  <c:v>133.71336132188114</c:v>
                </c:pt>
                <c:pt idx="246">
                  <c:v>133.28326207808547</c:v>
                </c:pt>
                <c:pt idx="247">
                  <c:v>133.85843957426593</c:v>
                </c:pt>
                <c:pt idx="248">
                  <c:v>133.50451711195845</c:v>
                </c:pt>
                <c:pt idx="249">
                  <c:v>134.40280399029388</c:v>
                </c:pt>
                <c:pt idx="250">
                  <c:v>134.95187596023402</c:v>
                </c:pt>
                <c:pt idx="251">
                  <c:v>134.8414624230208</c:v>
                </c:pt>
                <c:pt idx="252">
                  <c:v>135.76885054372246</c:v>
                </c:pt>
                <c:pt idx="253">
                  <c:v>137.3822576572644</c:v>
                </c:pt>
                <c:pt idx="254">
                  <c:v>136.85715141633179</c:v>
                </c:pt>
                <c:pt idx="255">
                  <c:v>138.1675632417072</c:v>
                </c:pt>
                <c:pt idx="256">
                  <c:v>138.44530892252652</c:v>
                </c:pt>
                <c:pt idx="257">
                  <c:v>139.94273902604988</c:v>
                </c:pt>
                <c:pt idx="258">
                  <c:v>139.67868804752061</c:v>
                </c:pt>
                <c:pt idx="259">
                  <c:v>140.56285226411944</c:v>
                </c:pt>
                <c:pt idx="260">
                  <c:v>142.53831306945355</c:v>
                </c:pt>
                <c:pt idx="261">
                  <c:v>142.07397706993285</c:v>
                </c:pt>
                <c:pt idx="262">
                  <c:v>141.04644643873544</c:v>
                </c:pt>
                <c:pt idx="263">
                  <c:v>141.45300791297015</c:v>
                </c:pt>
                <c:pt idx="264">
                  <c:v>140.69380785476767</c:v>
                </c:pt>
                <c:pt idx="265">
                  <c:v>143.39380400313266</c:v>
                </c:pt>
                <c:pt idx="266">
                  <c:v>144.08966606324384</c:v>
                </c:pt>
                <c:pt idx="267">
                  <c:v>144.38538604081876</c:v>
                </c:pt>
                <c:pt idx="268">
                  <c:v>142.92775616582571</c:v>
                </c:pt>
                <c:pt idx="269">
                  <c:v>142.98510273166517</c:v>
                </c:pt>
                <c:pt idx="270">
                  <c:v>142.21306389006577</c:v>
                </c:pt>
                <c:pt idx="271">
                  <c:v>142.70050969970086</c:v>
                </c:pt>
                <c:pt idx="272">
                  <c:v>142.83617284426128</c:v>
                </c:pt>
                <c:pt idx="273">
                  <c:v>143.90906717679434</c:v>
                </c:pt>
                <c:pt idx="274">
                  <c:v>143.72932420923792</c:v>
                </c:pt>
                <c:pt idx="275">
                  <c:v>141.94387739817776</c:v>
                </c:pt>
                <c:pt idx="276">
                  <c:v>142.25286411859614</c:v>
                </c:pt>
                <c:pt idx="277">
                  <c:v>142.4026499248931</c:v>
                </c:pt>
                <c:pt idx="278">
                  <c:v>144.24715513957898</c:v>
                </c:pt>
                <c:pt idx="279">
                  <c:v>144.77226138051157</c:v>
                </c:pt>
                <c:pt idx="280">
                  <c:v>145.4214758609474</c:v>
                </c:pt>
                <c:pt idx="281">
                  <c:v>147.63317028078419</c:v>
                </c:pt>
                <c:pt idx="282">
                  <c:v>147.85656511189001</c:v>
                </c:pt>
                <c:pt idx="283">
                  <c:v>149.08737648020471</c:v>
                </c:pt>
                <c:pt idx="284">
                  <c:v>149.69037134041179</c:v>
                </c:pt>
                <c:pt idx="285">
                  <c:v>149.45370976646251</c:v>
                </c:pt>
                <c:pt idx="286">
                  <c:v>148.0029272426145</c:v>
                </c:pt>
                <c:pt idx="287">
                  <c:v>145.44672546829463</c:v>
                </c:pt>
                <c:pt idx="288">
                  <c:v>144.71491481467217</c:v>
                </c:pt>
                <c:pt idx="289">
                  <c:v>144.26855311190712</c:v>
                </c:pt>
                <c:pt idx="290">
                  <c:v>143.78324709950482</c:v>
                </c:pt>
                <c:pt idx="291">
                  <c:v>144.84244672974788</c:v>
                </c:pt>
                <c:pt idx="292">
                  <c:v>145.31790967487922</c:v>
                </c:pt>
                <c:pt idx="293">
                  <c:v>145.62090496304569</c:v>
                </c:pt>
                <c:pt idx="294">
                  <c:v>142.27041045590519</c:v>
                </c:pt>
                <c:pt idx="295">
                  <c:v>141.85486183329266</c:v>
                </c:pt>
                <c:pt idx="296">
                  <c:v>142.18909816105824</c:v>
                </c:pt>
                <c:pt idx="297">
                  <c:v>140.77811586574057</c:v>
                </c:pt>
                <c:pt idx="298">
                  <c:v>141.61092494875186</c:v>
                </c:pt>
                <c:pt idx="299">
                  <c:v>140.16484997881599</c:v>
                </c:pt>
                <c:pt idx="300">
                  <c:v>142.27340617203112</c:v>
                </c:pt>
                <c:pt idx="301">
                  <c:v>144.53945144158138</c:v>
                </c:pt>
                <c:pt idx="302">
                  <c:v>144.2052151138158</c:v>
                </c:pt>
                <c:pt idx="303">
                  <c:v>144.57326023785987</c:v>
                </c:pt>
                <c:pt idx="304">
                  <c:v>145.17925081419284</c:v>
                </c:pt>
                <c:pt idx="305">
                  <c:v>144.117911386717</c:v>
                </c:pt>
                <c:pt idx="306">
                  <c:v>145.21519940770412</c:v>
                </c:pt>
                <c:pt idx="307">
                  <c:v>144.38239032469284</c:v>
                </c:pt>
                <c:pt idx="308">
                  <c:v>144.28267577364369</c:v>
                </c:pt>
                <c:pt idx="309">
                  <c:v>144.82960794635099</c:v>
                </c:pt>
                <c:pt idx="310">
                  <c:v>143.576542686815</c:v>
                </c:pt>
                <c:pt idx="311">
                  <c:v>142.39837033042747</c:v>
                </c:pt>
                <c:pt idx="312">
                  <c:v>143.04929664864957</c:v>
                </c:pt>
                <c:pt idx="313">
                  <c:v>141.50265120877143</c:v>
                </c:pt>
                <c:pt idx="314">
                  <c:v>143.03217827078706</c:v>
                </c:pt>
                <c:pt idx="315">
                  <c:v>143.48667120303679</c:v>
                </c:pt>
                <c:pt idx="316">
                  <c:v>143.32875416725511</c:v>
                </c:pt>
                <c:pt idx="317">
                  <c:v>143.72333277698607</c:v>
                </c:pt>
                <c:pt idx="318">
                  <c:v>144.28524353032307</c:v>
                </c:pt>
                <c:pt idx="319">
                  <c:v>145.76255953985799</c:v>
                </c:pt>
                <c:pt idx="320">
                  <c:v>146.86541103365045</c:v>
                </c:pt>
                <c:pt idx="321">
                  <c:v>147.1846687807863</c:v>
                </c:pt>
                <c:pt idx="322">
                  <c:v>146.90863493775331</c:v>
                </c:pt>
                <c:pt idx="323">
                  <c:v>148.94101434948024</c:v>
                </c:pt>
                <c:pt idx="324">
                  <c:v>150.33316642914914</c:v>
                </c:pt>
                <c:pt idx="325">
                  <c:v>150.44186812857612</c:v>
                </c:pt>
                <c:pt idx="326">
                  <c:v>150.19536348735593</c:v>
                </c:pt>
                <c:pt idx="327">
                  <c:v>148.26227066723158</c:v>
                </c:pt>
                <c:pt idx="328">
                  <c:v>144.93060637573984</c:v>
                </c:pt>
                <c:pt idx="329">
                  <c:v>145.06455768251399</c:v>
                </c:pt>
                <c:pt idx="330">
                  <c:v>146.88338533040607</c:v>
                </c:pt>
                <c:pt idx="331">
                  <c:v>148.29094395015127</c:v>
                </c:pt>
                <c:pt idx="332">
                  <c:v>147.79451099213836</c:v>
                </c:pt>
                <c:pt idx="333">
                  <c:v>146.60606760903337</c:v>
                </c:pt>
                <c:pt idx="334">
                  <c:v>147.49194366341845</c:v>
                </c:pt>
                <c:pt idx="335">
                  <c:v>148.41034463574232</c:v>
                </c:pt>
                <c:pt idx="336">
                  <c:v>146.39679543966412</c:v>
                </c:pt>
                <c:pt idx="337">
                  <c:v>144.93103433518638</c:v>
                </c:pt>
                <c:pt idx="338">
                  <c:v>142.60678658090359</c:v>
                </c:pt>
                <c:pt idx="339">
                  <c:v>142.99537375838264</c:v>
                </c:pt>
                <c:pt idx="340">
                  <c:v>144.79194751505347</c:v>
                </c:pt>
                <c:pt idx="341">
                  <c:v>145.50150427745464</c:v>
                </c:pt>
                <c:pt idx="342">
                  <c:v>144.41234748595221</c:v>
                </c:pt>
                <c:pt idx="343">
                  <c:v>142.47925466582788</c:v>
                </c:pt>
                <c:pt idx="344">
                  <c:v>142.98595865055827</c:v>
                </c:pt>
                <c:pt idx="345">
                  <c:v>144.91434391677046</c:v>
                </c:pt>
                <c:pt idx="346">
                  <c:v>144.87411572879353</c:v>
                </c:pt>
                <c:pt idx="347">
                  <c:v>145.33288825550889</c:v>
                </c:pt>
                <c:pt idx="348">
                  <c:v>145.56099064052691</c:v>
                </c:pt>
                <c:pt idx="349">
                  <c:v>145.56698207277879</c:v>
                </c:pt>
                <c:pt idx="350">
                  <c:v>143.75286197879888</c:v>
                </c:pt>
                <c:pt idx="351">
                  <c:v>141.03745929035765</c:v>
                </c:pt>
                <c:pt idx="352">
                  <c:v>139.96114128225207</c:v>
                </c:pt>
                <c:pt idx="353">
                  <c:v>141.89551798071616</c:v>
                </c:pt>
                <c:pt idx="354">
                  <c:v>141.68111029798814</c:v>
                </c:pt>
                <c:pt idx="355">
                  <c:v>142.56270675790762</c:v>
                </c:pt>
                <c:pt idx="356">
                  <c:v>143.28039474979352</c:v>
                </c:pt>
                <c:pt idx="357">
                  <c:v>144.230464721163</c:v>
                </c:pt>
                <c:pt idx="358">
                  <c:v>143.88424552889367</c:v>
                </c:pt>
                <c:pt idx="359">
                  <c:v>142.10906974455099</c:v>
                </c:pt>
                <c:pt idx="360">
                  <c:v>142.77839831897529</c:v>
                </c:pt>
                <c:pt idx="361">
                  <c:v>140.85044101220967</c:v>
                </c:pt>
                <c:pt idx="362">
                  <c:v>141.76969790342667</c:v>
                </c:pt>
                <c:pt idx="363">
                  <c:v>141.67640274407597</c:v>
                </c:pt>
                <c:pt idx="364">
                  <c:v>143.37411786859076</c:v>
                </c:pt>
                <c:pt idx="365">
                  <c:v>142.48952569254539</c:v>
                </c:pt>
                <c:pt idx="366">
                  <c:v>143.09637218777149</c:v>
                </c:pt>
                <c:pt idx="367">
                  <c:v>145.00464335999521</c:v>
                </c:pt>
                <c:pt idx="368">
                  <c:v>145.72618298690014</c:v>
                </c:pt>
                <c:pt idx="369">
                  <c:v>146.68780786332687</c:v>
                </c:pt>
                <c:pt idx="370">
                  <c:v>146.53502634090393</c:v>
                </c:pt>
                <c:pt idx="371">
                  <c:v>146.08053340865419</c:v>
                </c:pt>
                <c:pt idx="372">
                  <c:v>144.61049270971083</c:v>
                </c:pt>
                <c:pt idx="373">
                  <c:v>145.92775188623125</c:v>
                </c:pt>
                <c:pt idx="374">
                  <c:v>142.28752883376771</c:v>
                </c:pt>
                <c:pt idx="375">
                  <c:v>142.95471761095919</c:v>
                </c:pt>
                <c:pt idx="376">
                  <c:v>142.16256467537136</c:v>
                </c:pt>
                <c:pt idx="377">
                  <c:v>142.70864092918555</c:v>
                </c:pt>
                <c:pt idx="378">
                  <c:v>144.72261808471029</c:v>
                </c:pt>
                <c:pt idx="379">
                  <c:v>145.47539875121433</c:v>
                </c:pt>
                <c:pt idx="380">
                  <c:v>146.26583984901592</c:v>
                </c:pt>
                <c:pt idx="381">
                  <c:v>147.73160095349365</c:v>
                </c:pt>
                <c:pt idx="382">
                  <c:v>148.49294080892895</c:v>
                </c:pt>
                <c:pt idx="383">
                  <c:v>148.49978816007393</c:v>
                </c:pt>
                <c:pt idx="384">
                  <c:v>148.44030179700172</c:v>
                </c:pt>
                <c:pt idx="385">
                  <c:v>150.66697479746821</c:v>
                </c:pt>
                <c:pt idx="386">
                  <c:v>151.94015415099264</c:v>
                </c:pt>
                <c:pt idx="387">
                  <c:v>152.83886898877464</c:v>
                </c:pt>
                <c:pt idx="388">
                  <c:v>153.65498765336994</c:v>
                </c:pt>
                <c:pt idx="389">
                  <c:v>152.89279187904151</c:v>
                </c:pt>
                <c:pt idx="390">
                  <c:v>154.02988012855903</c:v>
                </c:pt>
                <c:pt idx="391">
                  <c:v>154.56397351786944</c:v>
                </c:pt>
                <c:pt idx="392">
                  <c:v>154.96582743819195</c:v>
                </c:pt>
                <c:pt idx="393">
                  <c:v>154.22888127121075</c:v>
                </c:pt>
                <c:pt idx="394">
                  <c:v>153.0430056447851</c:v>
                </c:pt>
                <c:pt idx="395">
                  <c:v>153.94300436090674</c:v>
                </c:pt>
                <c:pt idx="396">
                  <c:v>154.34828195680177</c:v>
                </c:pt>
                <c:pt idx="397">
                  <c:v>154.63201906987291</c:v>
                </c:pt>
                <c:pt idx="398">
                  <c:v>154.10691282894032</c:v>
                </c:pt>
                <c:pt idx="399">
                  <c:v>154.30933764716454</c:v>
                </c:pt>
                <c:pt idx="400">
                  <c:v>156.55912045774542</c:v>
                </c:pt>
                <c:pt idx="401">
                  <c:v>157.10605263045275</c:v>
                </c:pt>
                <c:pt idx="402">
                  <c:v>157.06796423970863</c:v>
                </c:pt>
                <c:pt idx="403">
                  <c:v>157.95555213187998</c:v>
                </c:pt>
                <c:pt idx="404">
                  <c:v>159.11147059704624</c:v>
                </c:pt>
                <c:pt idx="405">
                  <c:v>159.24670578216009</c:v>
                </c:pt>
                <c:pt idx="406">
                  <c:v>159.79278203597426</c:v>
                </c:pt>
                <c:pt idx="407">
                  <c:v>158.27737763569525</c:v>
                </c:pt>
                <c:pt idx="408">
                  <c:v>157.46040305220677</c:v>
                </c:pt>
                <c:pt idx="409">
                  <c:v>154.67695481176202</c:v>
                </c:pt>
                <c:pt idx="410">
                  <c:v>154.10177731558156</c:v>
                </c:pt>
                <c:pt idx="411">
                  <c:v>155.46825182845674</c:v>
                </c:pt>
                <c:pt idx="412">
                  <c:v>156.52017614810819</c:v>
                </c:pt>
                <c:pt idx="413">
                  <c:v>157.8203169467661</c:v>
                </c:pt>
                <c:pt idx="414">
                  <c:v>155.02060624735202</c:v>
                </c:pt>
                <c:pt idx="415">
                  <c:v>156.41703792148655</c:v>
                </c:pt>
                <c:pt idx="416">
                  <c:v>154.67609889286891</c:v>
                </c:pt>
                <c:pt idx="417">
                  <c:v>154.38294667197337</c:v>
                </c:pt>
                <c:pt idx="418">
                  <c:v>155.74813730650882</c:v>
                </c:pt>
                <c:pt idx="419">
                  <c:v>156.10548344438882</c:v>
                </c:pt>
                <c:pt idx="420">
                  <c:v>156.43800793436813</c:v>
                </c:pt>
                <c:pt idx="421">
                  <c:v>152.93216414812531</c:v>
                </c:pt>
                <c:pt idx="422">
                  <c:v>154.18694124544757</c:v>
                </c:pt>
                <c:pt idx="423">
                  <c:v>153.73544402932379</c:v>
                </c:pt>
                <c:pt idx="424">
                  <c:v>155.56069106891431</c:v>
                </c:pt>
                <c:pt idx="425">
                  <c:v>156.81332836900376</c:v>
                </c:pt>
                <c:pt idx="426">
                  <c:v>156.99863480936546</c:v>
                </c:pt>
                <c:pt idx="427">
                  <c:v>157.5143259424737</c:v>
                </c:pt>
                <c:pt idx="428">
                  <c:v>157.86910432367429</c:v>
                </c:pt>
                <c:pt idx="429">
                  <c:v>157.78779202882734</c:v>
                </c:pt>
                <c:pt idx="430">
                  <c:v>157.78394039380828</c:v>
                </c:pt>
                <c:pt idx="431">
                  <c:v>156.69307176451957</c:v>
                </c:pt>
                <c:pt idx="432">
                  <c:v>156.74057526308806</c:v>
                </c:pt>
                <c:pt idx="433">
                  <c:v>155.68651114620377</c:v>
                </c:pt>
                <c:pt idx="434">
                  <c:v>155.6231731481125</c:v>
                </c:pt>
                <c:pt idx="435">
                  <c:v>155.13743917626365</c:v>
                </c:pt>
                <c:pt idx="436">
                  <c:v>154.06368892483749</c:v>
                </c:pt>
                <c:pt idx="437">
                  <c:v>155.33130480555661</c:v>
                </c:pt>
                <c:pt idx="438">
                  <c:v>155.87438534324488</c:v>
                </c:pt>
                <c:pt idx="439">
                  <c:v>153.15641489812427</c:v>
                </c:pt>
                <c:pt idx="440">
                  <c:v>153.45684242961138</c:v>
                </c:pt>
                <c:pt idx="441">
                  <c:v>153.78637120346477</c:v>
                </c:pt>
                <c:pt idx="442">
                  <c:v>155.4614044773117</c:v>
                </c:pt>
                <c:pt idx="443">
                  <c:v>156.27581130412082</c:v>
                </c:pt>
                <c:pt idx="444">
                  <c:v>155.39421484420137</c:v>
                </c:pt>
                <c:pt idx="445">
                  <c:v>156.08494139095379</c:v>
                </c:pt>
                <c:pt idx="446">
                  <c:v>154.69236135183831</c:v>
                </c:pt>
                <c:pt idx="447">
                  <c:v>155.31119071156817</c:v>
                </c:pt>
                <c:pt idx="448">
                  <c:v>156.54884943102792</c:v>
                </c:pt>
                <c:pt idx="449">
                  <c:v>159.32887399590015</c:v>
                </c:pt>
                <c:pt idx="450">
                  <c:v>160.75783058797347</c:v>
                </c:pt>
                <c:pt idx="451">
                  <c:v>162.42473263233575</c:v>
                </c:pt>
                <c:pt idx="452">
                  <c:v>161.5671019014238</c:v>
                </c:pt>
                <c:pt idx="453">
                  <c:v>161.21874291192165</c:v>
                </c:pt>
                <c:pt idx="454">
                  <c:v>162.18550330170712</c:v>
                </c:pt>
                <c:pt idx="455">
                  <c:v>164.26838192812846</c:v>
                </c:pt>
                <c:pt idx="456">
                  <c:v>162.7559732439754</c:v>
                </c:pt>
                <c:pt idx="457">
                  <c:v>160.48992797442514</c:v>
                </c:pt>
                <c:pt idx="458">
                  <c:v>162.33700094579038</c:v>
                </c:pt>
                <c:pt idx="459">
                  <c:v>162.87109433510082</c:v>
                </c:pt>
                <c:pt idx="460">
                  <c:v>163.37993811706403</c:v>
                </c:pt>
                <c:pt idx="461">
                  <c:v>163.02387585752373</c:v>
                </c:pt>
                <c:pt idx="462">
                  <c:v>163.33671421296117</c:v>
                </c:pt>
                <c:pt idx="463">
                  <c:v>165.21588414281862</c:v>
                </c:pt>
                <c:pt idx="464">
                  <c:v>166.23143190951225</c:v>
                </c:pt>
                <c:pt idx="465">
                  <c:v>167.93984602019111</c:v>
                </c:pt>
                <c:pt idx="466">
                  <c:v>168.13328369003753</c:v>
                </c:pt>
                <c:pt idx="467">
                  <c:v>169.46380960940138</c:v>
                </c:pt>
                <c:pt idx="468">
                  <c:v>170.38392241951152</c:v>
                </c:pt>
                <c:pt idx="469">
                  <c:v>169.2425545755284</c:v>
                </c:pt>
                <c:pt idx="470">
                  <c:v>169.23955885940251</c:v>
                </c:pt>
                <c:pt idx="471">
                  <c:v>171.81929840328328</c:v>
                </c:pt>
                <c:pt idx="472">
                  <c:v>171.36608934937325</c:v>
                </c:pt>
                <c:pt idx="473">
                  <c:v>169.164665956254</c:v>
                </c:pt>
                <c:pt idx="474">
                  <c:v>167.09077447821045</c:v>
                </c:pt>
                <c:pt idx="475">
                  <c:v>161.48536164713033</c:v>
                </c:pt>
                <c:pt idx="476">
                  <c:v>157.77709304266327</c:v>
                </c:pt>
                <c:pt idx="477">
                  <c:v>154.76682629554023</c:v>
                </c:pt>
                <c:pt idx="478">
                  <c:v>155.5007767463955</c:v>
                </c:pt>
                <c:pt idx="479">
                  <c:v>159.7855067253827</c:v>
                </c:pt>
                <c:pt idx="480">
                  <c:v>157.25883415287566</c:v>
                </c:pt>
                <c:pt idx="481">
                  <c:v>159.93700436946594</c:v>
                </c:pt>
                <c:pt idx="482">
                  <c:v>159.49962981507872</c:v>
                </c:pt>
                <c:pt idx="483">
                  <c:v>159.97209704408411</c:v>
                </c:pt>
                <c:pt idx="484">
                  <c:v>160.45440734036043</c:v>
                </c:pt>
                <c:pt idx="485">
                  <c:v>157.97181459084936</c:v>
                </c:pt>
                <c:pt idx="486">
                  <c:v>156.90491169056818</c:v>
                </c:pt>
                <c:pt idx="487">
                  <c:v>158.55255555983513</c:v>
                </c:pt>
                <c:pt idx="488">
                  <c:v>156.79193039667561</c:v>
                </c:pt>
                <c:pt idx="489">
                  <c:v>156.62759396919549</c:v>
                </c:pt>
                <c:pt idx="490">
                  <c:v>156.30106091146803</c:v>
                </c:pt>
                <c:pt idx="491">
                  <c:v>156.96439805364042</c:v>
                </c:pt>
                <c:pt idx="492">
                  <c:v>156.79321427501529</c:v>
                </c:pt>
                <c:pt idx="493">
                  <c:v>159.5009136934184</c:v>
                </c:pt>
                <c:pt idx="494">
                  <c:v>159.1632536900803</c:v>
                </c:pt>
                <c:pt idx="495">
                  <c:v>160.19463595629676</c:v>
                </c:pt>
                <c:pt idx="496">
                  <c:v>158.4853659267248</c:v>
                </c:pt>
                <c:pt idx="497">
                  <c:v>157.94699294294873</c:v>
                </c:pt>
                <c:pt idx="498">
                  <c:v>161.01246645867838</c:v>
                </c:pt>
                <c:pt idx="499">
                  <c:v>160.55112617528366</c:v>
                </c:pt>
                <c:pt idx="500">
                  <c:v>158.90562210324947</c:v>
                </c:pt>
                <c:pt idx="501">
                  <c:v>154.23401678456949</c:v>
                </c:pt>
                <c:pt idx="502">
                  <c:v>153.1902236944027</c:v>
                </c:pt>
                <c:pt idx="503">
                  <c:v>150.58052698926249</c:v>
                </c:pt>
                <c:pt idx="504">
                  <c:v>152.05142360709897</c:v>
                </c:pt>
                <c:pt idx="505">
                  <c:v>152.38009646205924</c:v>
                </c:pt>
                <c:pt idx="506">
                  <c:v>149.01333949594934</c:v>
                </c:pt>
                <c:pt idx="507">
                  <c:v>149.45970119871441</c:v>
                </c:pt>
                <c:pt idx="508">
                  <c:v>148.37097236665852</c:v>
                </c:pt>
                <c:pt idx="509">
                  <c:v>141.21121082566214</c:v>
                </c:pt>
                <c:pt idx="510">
                  <c:v>141.02205275028138</c:v>
                </c:pt>
                <c:pt idx="511">
                  <c:v>136.30979128417792</c:v>
                </c:pt>
                <c:pt idx="512">
                  <c:v>141.39865706325668</c:v>
                </c:pt>
                <c:pt idx="513">
                  <c:v>141.959283938254</c:v>
                </c:pt>
                <c:pt idx="514">
                  <c:v>142.1540054864401</c:v>
                </c:pt>
                <c:pt idx="515">
                  <c:v>142.2083563361536</c:v>
                </c:pt>
                <c:pt idx="516">
                  <c:v>137.28211514676869</c:v>
                </c:pt>
                <c:pt idx="517">
                  <c:v>135.21121938485109</c:v>
                </c:pt>
                <c:pt idx="518">
                  <c:v>136.28496963627728</c:v>
                </c:pt>
                <c:pt idx="519">
                  <c:v>139.44373831135761</c:v>
                </c:pt>
                <c:pt idx="520">
                  <c:v>140.229471855247</c:v>
                </c:pt>
                <c:pt idx="521">
                  <c:v>141.88396307565895</c:v>
                </c:pt>
                <c:pt idx="522">
                  <c:v>143.47212058185366</c:v>
                </c:pt>
                <c:pt idx="523">
                  <c:v>145.82932121352181</c:v>
                </c:pt>
                <c:pt idx="524">
                  <c:v>145.77197464768238</c:v>
                </c:pt>
                <c:pt idx="525">
                  <c:v>146.79009017105537</c:v>
                </c:pt>
                <c:pt idx="526">
                  <c:v>148.6559933580694</c:v>
                </c:pt>
                <c:pt idx="527">
                  <c:v>145.4664116028365</c:v>
                </c:pt>
                <c:pt idx="528">
                  <c:v>146.79051813050197</c:v>
                </c:pt>
                <c:pt idx="529">
                  <c:v>144.77868077221001</c:v>
                </c:pt>
                <c:pt idx="530">
                  <c:v>144.45343159282226</c:v>
                </c:pt>
                <c:pt idx="531">
                  <c:v>146.71305747067407</c:v>
                </c:pt>
                <c:pt idx="532">
                  <c:v>147.54843431036474</c:v>
                </c:pt>
                <c:pt idx="533">
                  <c:v>147.47653712334218</c:v>
                </c:pt>
                <c:pt idx="534">
                  <c:v>151.4753901920254</c:v>
                </c:pt>
                <c:pt idx="535">
                  <c:v>153.98537234611649</c:v>
                </c:pt>
                <c:pt idx="536">
                  <c:v>152.20078145394942</c:v>
                </c:pt>
                <c:pt idx="537">
                  <c:v>147.92418270444691</c:v>
                </c:pt>
                <c:pt idx="538">
                  <c:v>149.09208403411691</c:v>
                </c:pt>
                <c:pt idx="539">
                  <c:v>147.40934749023182</c:v>
                </c:pt>
                <c:pt idx="540">
                  <c:v>150.4054915756183</c:v>
                </c:pt>
                <c:pt idx="541">
                  <c:v>150.01348072256673</c:v>
                </c:pt>
                <c:pt idx="542">
                  <c:v>150.78380772637985</c:v>
                </c:pt>
                <c:pt idx="543">
                  <c:v>150.92075474927995</c:v>
                </c:pt>
                <c:pt idx="544">
                  <c:v>147.72261380511583</c:v>
                </c:pt>
                <c:pt idx="545">
                  <c:v>148.24087269490343</c:v>
                </c:pt>
                <c:pt idx="546">
                  <c:v>150.57410759756405</c:v>
                </c:pt>
                <c:pt idx="547">
                  <c:v>149.79393752647999</c:v>
                </c:pt>
                <c:pt idx="548">
                  <c:v>149.98823111521952</c:v>
                </c:pt>
                <c:pt idx="549">
                  <c:v>148.74372504461476</c:v>
                </c:pt>
                <c:pt idx="550">
                  <c:v>146.75799321256318</c:v>
                </c:pt>
                <c:pt idx="551">
                  <c:v>144.62461537144739</c:v>
                </c:pt>
                <c:pt idx="552">
                  <c:v>145.17325938194094</c:v>
                </c:pt>
                <c:pt idx="553">
                  <c:v>144.13246200790013</c:v>
                </c:pt>
                <c:pt idx="554">
                  <c:v>144.45557139005507</c:v>
                </c:pt>
                <c:pt idx="555">
                  <c:v>142.24173717298547</c:v>
                </c:pt>
                <c:pt idx="556">
                  <c:v>143.40321911095702</c:v>
                </c:pt>
                <c:pt idx="557">
                  <c:v>143.67754111620383</c:v>
                </c:pt>
                <c:pt idx="558">
                  <c:v>145.63673946256853</c:v>
                </c:pt>
                <c:pt idx="559">
                  <c:v>149.39037176837124</c:v>
                </c:pt>
                <c:pt idx="560">
                  <c:v>150.62118313668594</c:v>
                </c:pt>
                <c:pt idx="561">
                  <c:v>150.19279573067655</c:v>
                </c:pt>
                <c:pt idx="562">
                  <c:v>149.43145587524126</c:v>
                </c:pt>
                <c:pt idx="563">
                  <c:v>150.55099778744966</c:v>
                </c:pt>
                <c:pt idx="564">
                  <c:v>149.61761823449612</c:v>
                </c:pt>
                <c:pt idx="565">
                  <c:v>148.05599421398827</c:v>
                </c:pt>
                <c:pt idx="566">
                  <c:v>148.42275545969264</c:v>
                </c:pt>
                <c:pt idx="567">
                  <c:v>147.29379843965987</c:v>
                </c:pt>
                <c:pt idx="568">
                  <c:v>146.46698078890043</c:v>
                </c:pt>
                <c:pt idx="569">
                  <c:v>145.30806660760825</c:v>
                </c:pt>
                <c:pt idx="570">
                  <c:v>147.89550942152721</c:v>
                </c:pt>
                <c:pt idx="571">
                  <c:v>146.87996165483358</c:v>
                </c:pt>
                <c:pt idx="572">
                  <c:v>147.00449785378339</c:v>
                </c:pt>
                <c:pt idx="573">
                  <c:v>149.28552170396333</c:v>
                </c:pt>
                <c:pt idx="574">
                  <c:v>149.0762495345941</c:v>
                </c:pt>
                <c:pt idx="575">
                  <c:v>149.84957225453314</c:v>
                </c:pt>
                <c:pt idx="576">
                  <c:v>149.34714786426838</c:v>
                </c:pt>
                <c:pt idx="577">
                  <c:v>149.1845232745745</c:v>
                </c:pt>
                <c:pt idx="578">
                  <c:v>149.4241805646497</c:v>
                </c:pt>
                <c:pt idx="579">
                  <c:v>149.40663422734062</c:v>
                </c:pt>
                <c:pt idx="580">
                  <c:v>149.24700535377266</c:v>
                </c:pt>
                <c:pt idx="581">
                  <c:v>150.64985641960567</c:v>
                </c:pt>
                <c:pt idx="582">
                  <c:v>151.66454826740619</c:v>
                </c:pt>
                <c:pt idx="583">
                  <c:v>151.70178073925715</c:v>
                </c:pt>
                <c:pt idx="584">
                  <c:v>150.70206747208636</c:v>
                </c:pt>
                <c:pt idx="585">
                  <c:v>150.83473490052083</c:v>
                </c:pt>
                <c:pt idx="586">
                  <c:v>152.72331993820265</c:v>
                </c:pt>
                <c:pt idx="587">
                  <c:v>152.79692896301148</c:v>
                </c:pt>
                <c:pt idx="588">
                  <c:v>153.12859753409768</c:v>
                </c:pt>
                <c:pt idx="589">
                  <c:v>154.1428614224516</c:v>
                </c:pt>
                <c:pt idx="590">
                  <c:v>152.47938305366185</c:v>
                </c:pt>
                <c:pt idx="591">
                  <c:v>154.91361638571129</c:v>
                </c:pt>
                <c:pt idx="592">
                  <c:v>154.9974964372376</c:v>
                </c:pt>
                <c:pt idx="593">
                  <c:v>156.27538334467425</c:v>
                </c:pt>
                <c:pt idx="594">
                  <c:v>157.45740733608085</c:v>
                </c:pt>
                <c:pt idx="595">
                  <c:v>157.90419699829243</c:v>
                </c:pt>
                <c:pt idx="596">
                  <c:v>157.6649676676638</c:v>
                </c:pt>
                <c:pt idx="597">
                  <c:v>158.81104306555909</c:v>
                </c:pt>
                <c:pt idx="598">
                  <c:v>159.97680459799631</c:v>
                </c:pt>
                <c:pt idx="599">
                  <c:v>161.09335079407873</c:v>
                </c:pt>
                <c:pt idx="600">
                  <c:v>159.12430938044309</c:v>
                </c:pt>
                <c:pt idx="601">
                  <c:v>160.82972777499603</c:v>
                </c:pt>
                <c:pt idx="602">
                  <c:v>160.56567679646676</c:v>
                </c:pt>
                <c:pt idx="603">
                  <c:v>162.84498880886048</c:v>
                </c:pt>
                <c:pt idx="604">
                  <c:v>163.19634351448858</c:v>
                </c:pt>
                <c:pt idx="605">
                  <c:v>163.00675747966122</c:v>
                </c:pt>
                <c:pt idx="606">
                  <c:v>162.86210718672299</c:v>
                </c:pt>
                <c:pt idx="607">
                  <c:v>164.50033594816554</c:v>
                </c:pt>
                <c:pt idx="608">
                  <c:v>163.56909619244479</c:v>
                </c:pt>
                <c:pt idx="609">
                  <c:v>161.37537606936365</c:v>
                </c:pt>
                <c:pt idx="610">
                  <c:v>162.32672991907287</c:v>
                </c:pt>
                <c:pt idx="611">
                  <c:v>161.36467708319958</c:v>
                </c:pt>
                <c:pt idx="612">
                  <c:v>162.15982573491334</c:v>
                </c:pt>
                <c:pt idx="613">
                  <c:v>160.70519157604625</c:v>
                </c:pt>
                <c:pt idx="614">
                  <c:v>162.90533109082583</c:v>
                </c:pt>
                <c:pt idx="615">
                  <c:v>164.40490099158202</c:v>
                </c:pt>
                <c:pt idx="616">
                  <c:v>164.83671207316394</c:v>
                </c:pt>
                <c:pt idx="617">
                  <c:v>164.90646946295368</c:v>
                </c:pt>
                <c:pt idx="618">
                  <c:v>164.65097767335567</c:v>
                </c:pt>
                <c:pt idx="619">
                  <c:v>164.29791112994133</c:v>
                </c:pt>
                <c:pt idx="620">
                  <c:v>161.77851386802587</c:v>
                </c:pt>
                <c:pt idx="621">
                  <c:v>163.78735551019184</c:v>
                </c:pt>
                <c:pt idx="622">
                  <c:v>166.45739449729743</c:v>
                </c:pt>
                <c:pt idx="623">
                  <c:v>165.86852229882695</c:v>
                </c:pt>
                <c:pt idx="624">
                  <c:v>167.20161597487021</c:v>
                </c:pt>
                <c:pt idx="625">
                  <c:v>165.94170336418921</c:v>
                </c:pt>
                <c:pt idx="626">
                  <c:v>163.70390341811211</c:v>
                </c:pt>
                <c:pt idx="627">
                  <c:v>162.29334908224098</c:v>
                </c:pt>
                <c:pt idx="628">
                  <c:v>164.840563708183</c:v>
                </c:pt>
                <c:pt idx="629">
                  <c:v>164.30261868385352</c:v>
                </c:pt>
                <c:pt idx="630">
                  <c:v>162.94941091382179</c:v>
                </c:pt>
                <c:pt idx="631">
                  <c:v>163.73899609273025</c:v>
                </c:pt>
                <c:pt idx="632">
                  <c:v>164.76695468337419</c:v>
                </c:pt>
                <c:pt idx="633">
                  <c:v>164.01502993576327</c:v>
                </c:pt>
                <c:pt idx="634">
                  <c:v>165.03314545913631</c:v>
                </c:pt>
                <c:pt idx="635">
                  <c:v>164.52986514997838</c:v>
                </c:pt>
                <c:pt idx="636">
                  <c:v>163.77836836181402</c:v>
                </c:pt>
                <c:pt idx="637">
                  <c:v>164.56581374348966</c:v>
                </c:pt>
                <c:pt idx="638">
                  <c:v>163.43942448013627</c:v>
                </c:pt>
                <c:pt idx="639">
                  <c:v>163.7270132282265</c:v>
                </c:pt>
                <c:pt idx="640">
                  <c:v>163.72358955265398</c:v>
                </c:pt>
                <c:pt idx="641">
                  <c:v>166.21088985607724</c:v>
                </c:pt>
                <c:pt idx="642">
                  <c:v>165.9981940111355</c:v>
                </c:pt>
                <c:pt idx="643">
                  <c:v>165.09134794386884</c:v>
                </c:pt>
                <c:pt idx="644">
                  <c:v>166.24041905789005</c:v>
                </c:pt>
                <c:pt idx="645">
                  <c:v>166.82586758078804</c:v>
                </c:pt>
                <c:pt idx="646">
                  <c:v>167.02658056122601</c:v>
                </c:pt>
                <c:pt idx="647">
                  <c:v>164.53286086610433</c:v>
                </c:pt>
                <c:pt idx="648">
                  <c:v>164.29577133270851</c:v>
                </c:pt>
                <c:pt idx="649">
                  <c:v>163.49634308652912</c:v>
                </c:pt>
                <c:pt idx="650">
                  <c:v>162.60361968099903</c:v>
                </c:pt>
                <c:pt idx="651">
                  <c:v>163.98806849062984</c:v>
                </c:pt>
                <c:pt idx="652">
                  <c:v>165.36310219243623</c:v>
                </c:pt>
                <c:pt idx="653">
                  <c:v>164.45754000350925</c:v>
                </c:pt>
                <c:pt idx="654">
                  <c:v>164.43785386896735</c:v>
                </c:pt>
                <c:pt idx="655">
                  <c:v>164.95183316428935</c:v>
                </c:pt>
                <c:pt idx="656">
                  <c:v>165.82444247583098</c:v>
                </c:pt>
                <c:pt idx="657">
                  <c:v>165.76538407220531</c:v>
                </c:pt>
                <c:pt idx="658">
                  <c:v>164.80033552020609</c:v>
                </c:pt>
                <c:pt idx="659">
                  <c:v>165.26895111419242</c:v>
                </c:pt>
                <c:pt idx="660">
                  <c:v>165.69905035798809</c:v>
                </c:pt>
                <c:pt idx="661">
                  <c:v>166.2631009085579</c:v>
                </c:pt>
                <c:pt idx="662">
                  <c:v>168.09348346150719</c:v>
                </c:pt>
                <c:pt idx="663">
                  <c:v>168.79276919719089</c:v>
                </c:pt>
                <c:pt idx="664">
                  <c:v>168.96095725969008</c:v>
                </c:pt>
                <c:pt idx="665">
                  <c:v>169.91402294718552</c:v>
                </c:pt>
                <c:pt idx="666">
                  <c:v>169.72957242571692</c:v>
                </c:pt>
                <c:pt idx="667">
                  <c:v>169.36195526111945</c:v>
                </c:pt>
                <c:pt idx="668">
                  <c:v>166.6337137892813</c:v>
                </c:pt>
                <c:pt idx="669">
                  <c:v>166.92729396962343</c:v>
                </c:pt>
                <c:pt idx="670">
                  <c:v>164.53286086610433</c:v>
                </c:pt>
                <c:pt idx="671">
                  <c:v>165.61131867144269</c:v>
                </c:pt>
                <c:pt idx="672">
                  <c:v>164.52173392049369</c:v>
                </c:pt>
                <c:pt idx="673">
                  <c:v>162.00190869913166</c:v>
                </c:pt>
                <c:pt idx="674">
                  <c:v>162.52615902117114</c:v>
                </c:pt>
                <c:pt idx="675">
                  <c:v>159.05840362567244</c:v>
                </c:pt>
                <c:pt idx="676">
                  <c:v>159.51974390906716</c:v>
                </c:pt>
                <c:pt idx="677">
                  <c:v>156.75426996537806</c:v>
                </c:pt>
                <c:pt idx="678">
                  <c:v>156.25655312902549</c:v>
                </c:pt>
                <c:pt idx="679">
                  <c:v>157.77024569151828</c:v>
                </c:pt>
                <c:pt idx="680">
                  <c:v>155.19307390431683</c:v>
                </c:pt>
                <c:pt idx="681">
                  <c:v>155.63857968818874</c:v>
                </c:pt>
                <c:pt idx="682">
                  <c:v>155.119464879508</c:v>
                </c:pt>
                <c:pt idx="683">
                  <c:v>156.14571163236573</c:v>
                </c:pt>
                <c:pt idx="684">
                  <c:v>156.89164494772473</c:v>
                </c:pt>
                <c:pt idx="685">
                  <c:v>155.71133279410444</c:v>
                </c:pt>
                <c:pt idx="686">
                  <c:v>155.80548387234825</c:v>
                </c:pt>
                <c:pt idx="687">
                  <c:v>153.62246273543118</c:v>
                </c:pt>
                <c:pt idx="688">
                  <c:v>152.1746759277091</c:v>
                </c:pt>
                <c:pt idx="689">
                  <c:v>152.69464665528295</c:v>
                </c:pt>
                <c:pt idx="690">
                  <c:v>155.91332965288208</c:v>
                </c:pt>
                <c:pt idx="691">
                  <c:v>156.57452699782169</c:v>
                </c:pt>
                <c:pt idx="692">
                  <c:v>154.80405876739121</c:v>
                </c:pt>
                <c:pt idx="693">
                  <c:v>156.81675204457625</c:v>
                </c:pt>
                <c:pt idx="694">
                  <c:v>157.00291440383108</c:v>
                </c:pt>
                <c:pt idx="695">
                  <c:v>157.59863395344655</c:v>
                </c:pt>
                <c:pt idx="696">
                  <c:v>155.68950686232972</c:v>
                </c:pt>
                <c:pt idx="697">
                  <c:v>158.20034493531392</c:v>
                </c:pt>
                <c:pt idx="698">
                  <c:v>158.74128567576938</c:v>
                </c:pt>
                <c:pt idx="699">
                  <c:v>160.37566280219283</c:v>
                </c:pt>
                <c:pt idx="700">
                  <c:v>162.29506092002723</c:v>
                </c:pt>
                <c:pt idx="701">
                  <c:v>160.3944930178416</c:v>
                </c:pt>
                <c:pt idx="702">
                  <c:v>159.63144132462008</c:v>
                </c:pt>
                <c:pt idx="703">
                  <c:v>159.0138958432299</c:v>
                </c:pt>
                <c:pt idx="704">
                  <c:v>158.98693439809642</c:v>
                </c:pt>
                <c:pt idx="705">
                  <c:v>161.23414945199795</c:v>
                </c:pt>
                <c:pt idx="706">
                  <c:v>160.74884343959565</c:v>
                </c:pt>
                <c:pt idx="707">
                  <c:v>163.37779831983121</c:v>
                </c:pt>
                <c:pt idx="708">
                  <c:v>164.84912289711426</c:v>
                </c:pt>
                <c:pt idx="709">
                  <c:v>167.18406963756115</c:v>
                </c:pt>
                <c:pt idx="710">
                  <c:v>167.24270008174025</c:v>
                </c:pt>
                <c:pt idx="711">
                  <c:v>167.67707892000155</c:v>
                </c:pt>
                <c:pt idx="712">
                  <c:v>166.84298595865056</c:v>
                </c:pt>
                <c:pt idx="713">
                  <c:v>164.78920857459548</c:v>
                </c:pt>
                <c:pt idx="714">
                  <c:v>166.88449802496714</c:v>
                </c:pt>
                <c:pt idx="715">
                  <c:v>168.14398267620157</c:v>
                </c:pt>
                <c:pt idx="716">
                  <c:v>166.44797938947303</c:v>
                </c:pt>
                <c:pt idx="717">
                  <c:v>168.18421086417851</c:v>
                </c:pt>
                <c:pt idx="718">
                  <c:v>169.74754672247258</c:v>
                </c:pt>
                <c:pt idx="719">
                  <c:v>170.78320858315465</c:v>
                </c:pt>
                <c:pt idx="720">
                  <c:v>171.24283702876315</c:v>
                </c:pt>
                <c:pt idx="721">
                  <c:v>172.09148061129727</c:v>
                </c:pt>
                <c:pt idx="722">
                  <c:v>172.12742920480855</c:v>
                </c:pt>
                <c:pt idx="723">
                  <c:v>169.39448017905823</c:v>
                </c:pt>
                <c:pt idx="724">
                  <c:v>169.43171265090919</c:v>
                </c:pt>
                <c:pt idx="725">
                  <c:v>169.76081346531601</c:v>
                </c:pt>
                <c:pt idx="726">
                  <c:v>170.70104036941459</c:v>
                </c:pt>
                <c:pt idx="727">
                  <c:v>171.70974078496323</c:v>
                </c:pt>
                <c:pt idx="728">
                  <c:v>172.5493972191195</c:v>
                </c:pt>
                <c:pt idx="729">
                  <c:v>173.10745633743744</c:v>
                </c:pt>
                <c:pt idx="730">
                  <c:v>174.21886702016116</c:v>
                </c:pt>
                <c:pt idx="731">
                  <c:v>172.72400467331715</c:v>
                </c:pt>
                <c:pt idx="732">
                  <c:v>173.52257700060343</c:v>
                </c:pt>
                <c:pt idx="733">
                  <c:v>174.76194755784942</c:v>
                </c:pt>
                <c:pt idx="734">
                  <c:v>174.28006522101964</c:v>
                </c:pt>
                <c:pt idx="735">
                  <c:v>174.54454415899551</c:v>
                </c:pt>
                <c:pt idx="736">
                  <c:v>175.07992142664563</c:v>
                </c:pt>
                <c:pt idx="737">
                  <c:v>174.92414418809673</c:v>
                </c:pt>
                <c:pt idx="738">
                  <c:v>174.8509631227345</c:v>
                </c:pt>
                <c:pt idx="739">
                  <c:v>175.49547004925813</c:v>
                </c:pt>
                <c:pt idx="740">
                  <c:v>175.57121887129975</c:v>
                </c:pt>
                <c:pt idx="741">
                  <c:v>176.30859299772752</c:v>
                </c:pt>
                <c:pt idx="742">
                  <c:v>175.9585221704391</c:v>
                </c:pt>
                <c:pt idx="743">
                  <c:v>176.0141568984923</c:v>
                </c:pt>
                <c:pt idx="744">
                  <c:v>176.42499796719264</c:v>
                </c:pt>
                <c:pt idx="745">
                  <c:v>176.36893527969289</c:v>
                </c:pt>
                <c:pt idx="746">
                  <c:v>177.16707964753263</c:v>
                </c:pt>
                <c:pt idx="747">
                  <c:v>176.18320087988459</c:v>
                </c:pt>
                <c:pt idx="748">
                  <c:v>175.66964954400919</c:v>
                </c:pt>
                <c:pt idx="749">
                  <c:v>175.13042064134001</c:v>
                </c:pt>
                <c:pt idx="750">
                  <c:v>175.34183260794205</c:v>
                </c:pt>
                <c:pt idx="751">
                  <c:v>174.26765439706932</c:v>
                </c:pt>
                <c:pt idx="752">
                  <c:v>175.38505651204491</c:v>
                </c:pt>
                <c:pt idx="753">
                  <c:v>175.94482746814913</c:v>
                </c:pt>
                <c:pt idx="754">
                  <c:v>175.75438551442866</c:v>
                </c:pt>
                <c:pt idx="755">
                  <c:v>174.6352715616668</c:v>
                </c:pt>
                <c:pt idx="756">
                  <c:v>174.81672636700944</c:v>
                </c:pt>
                <c:pt idx="757">
                  <c:v>177.04896284028126</c:v>
                </c:pt>
                <c:pt idx="758">
                  <c:v>177.13926228350601</c:v>
                </c:pt>
                <c:pt idx="759">
                  <c:v>177.89075907167037</c:v>
                </c:pt>
                <c:pt idx="760">
                  <c:v>179.65352403206271</c:v>
                </c:pt>
                <c:pt idx="761">
                  <c:v>179.50587802299853</c:v>
                </c:pt>
                <c:pt idx="762">
                  <c:v>183.75251961124161</c:v>
                </c:pt>
                <c:pt idx="763">
                  <c:v>183.17905395284743</c:v>
                </c:pt>
                <c:pt idx="764">
                  <c:v>181.71329284836969</c:v>
                </c:pt>
                <c:pt idx="765">
                  <c:v>183.16878292612992</c:v>
                </c:pt>
                <c:pt idx="766">
                  <c:v>182.31799954636298</c:v>
                </c:pt>
                <c:pt idx="767">
                  <c:v>183.65751261410469</c:v>
                </c:pt>
                <c:pt idx="768">
                  <c:v>181.38248019617663</c:v>
                </c:pt>
                <c:pt idx="769">
                  <c:v>182.54139437746881</c:v>
                </c:pt>
                <c:pt idx="770">
                  <c:v>181.02470609885006</c:v>
                </c:pt>
                <c:pt idx="771">
                  <c:v>182.71129427775421</c:v>
                </c:pt>
                <c:pt idx="772">
                  <c:v>183.55523030637616</c:v>
                </c:pt>
                <c:pt idx="773">
                  <c:v>182.95865483786758</c:v>
                </c:pt>
                <c:pt idx="774">
                  <c:v>183.87020845904641</c:v>
                </c:pt>
                <c:pt idx="775">
                  <c:v>183.55095071191053</c:v>
                </c:pt>
                <c:pt idx="776">
                  <c:v>184.25408808261326</c:v>
                </c:pt>
                <c:pt idx="777">
                  <c:v>184.56863827583697</c:v>
                </c:pt>
                <c:pt idx="778">
                  <c:v>183.24538766706468</c:v>
                </c:pt>
                <c:pt idx="779">
                  <c:v>182.72242122336485</c:v>
                </c:pt>
                <c:pt idx="780">
                  <c:v>182.07406266182218</c:v>
                </c:pt>
                <c:pt idx="781">
                  <c:v>182.3398254781377</c:v>
                </c:pt>
                <c:pt idx="782">
                  <c:v>182.63896913128514</c:v>
                </c:pt>
                <c:pt idx="783">
                  <c:v>182.34710078872928</c:v>
                </c:pt>
                <c:pt idx="784">
                  <c:v>183.043390808287</c:v>
                </c:pt>
                <c:pt idx="785">
                  <c:v>184.630264436142</c:v>
                </c:pt>
                <c:pt idx="786">
                  <c:v>184.50701211553192</c:v>
                </c:pt>
                <c:pt idx="787">
                  <c:v>182.95437524340193</c:v>
                </c:pt>
                <c:pt idx="788">
                  <c:v>182.54781376916722</c:v>
                </c:pt>
                <c:pt idx="789">
                  <c:v>182.31799954636298</c:v>
                </c:pt>
                <c:pt idx="790">
                  <c:v>182.40530327346181</c:v>
                </c:pt>
                <c:pt idx="791">
                  <c:v>183.19702824960308</c:v>
                </c:pt>
                <c:pt idx="792">
                  <c:v>182.89916847479532</c:v>
                </c:pt>
                <c:pt idx="793">
                  <c:v>181.39531897957349</c:v>
                </c:pt>
                <c:pt idx="794">
                  <c:v>181.92342093663203</c:v>
                </c:pt>
                <c:pt idx="795">
                  <c:v>182.39674408453055</c:v>
                </c:pt>
                <c:pt idx="796">
                  <c:v>181.37049733167282</c:v>
                </c:pt>
                <c:pt idx="797">
                  <c:v>180.72342264846981</c:v>
                </c:pt>
                <c:pt idx="798">
                  <c:v>180.43497798148647</c:v>
                </c:pt>
                <c:pt idx="799">
                  <c:v>179.83497883740534</c:v>
                </c:pt>
                <c:pt idx="800">
                  <c:v>180.64596198864194</c:v>
                </c:pt>
                <c:pt idx="801">
                  <c:v>178.83740536746737</c:v>
                </c:pt>
                <c:pt idx="802">
                  <c:v>179.00473751107344</c:v>
                </c:pt>
                <c:pt idx="803">
                  <c:v>178.7886179905592</c:v>
                </c:pt>
                <c:pt idx="804">
                  <c:v>178.88533682548243</c:v>
                </c:pt>
                <c:pt idx="805">
                  <c:v>177.98191443378826</c:v>
                </c:pt>
                <c:pt idx="806">
                  <c:v>176.40060427873851</c:v>
                </c:pt>
                <c:pt idx="807">
                  <c:v>175.75181775774925</c:v>
                </c:pt>
                <c:pt idx="808">
                  <c:v>175.59604051920041</c:v>
                </c:pt>
                <c:pt idx="809">
                  <c:v>175.96579748103068</c:v>
                </c:pt>
                <c:pt idx="810">
                  <c:v>175.95210277874068</c:v>
                </c:pt>
                <c:pt idx="811">
                  <c:v>177.11444063560535</c:v>
                </c:pt>
                <c:pt idx="812">
                  <c:v>176.97449789657932</c:v>
                </c:pt>
                <c:pt idx="813">
                  <c:v>177.37977549247432</c:v>
                </c:pt>
                <c:pt idx="814">
                  <c:v>177.98918974437981</c:v>
                </c:pt>
                <c:pt idx="815">
                  <c:v>178.51344006641932</c:v>
                </c:pt>
                <c:pt idx="816">
                  <c:v>179.93726114513387</c:v>
                </c:pt>
                <c:pt idx="817">
                  <c:v>180.17135496240377</c:v>
                </c:pt>
                <c:pt idx="818">
                  <c:v>179.31244035315211</c:v>
                </c:pt>
                <c:pt idx="819">
                  <c:v>179.76564940706217</c:v>
                </c:pt>
                <c:pt idx="820">
                  <c:v>180.48290943950153</c:v>
                </c:pt>
                <c:pt idx="821">
                  <c:v>180.55908622098968</c:v>
                </c:pt>
                <c:pt idx="822">
                  <c:v>181.91272195046798</c:v>
                </c:pt>
                <c:pt idx="823">
                  <c:v>182.13782861936002</c:v>
                </c:pt>
                <c:pt idx="824">
                  <c:v>182.48404781162938</c:v>
                </c:pt>
                <c:pt idx="825">
                  <c:v>184.34909507975024</c:v>
                </c:pt>
                <c:pt idx="826">
                  <c:v>184.64952261123736</c:v>
                </c:pt>
                <c:pt idx="827">
                  <c:v>183.98746934740464</c:v>
                </c:pt>
                <c:pt idx="828">
                  <c:v>183.91214848480956</c:v>
                </c:pt>
                <c:pt idx="829">
                  <c:v>184.35851018757464</c:v>
                </c:pt>
                <c:pt idx="830">
                  <c:v>185.21400112125374</c:v>
                </c:pt>
                <c:pt idx="831">
                  <c:v>185.55722459739715</c:v>
                </c:pt>
                <c:pt idx="832">
                  <c:v>184.5819050186804</c:v>
                </c:pt>
                <c:pt idx="833">
                  <c:v>185.07320246333458</c:v>
                </c:pt>
                <c:pt idx="834">
                  <c:v>185.53753846285522</c:v>
                </c:pt>
                <c:pt idx="835">
                  <c:v>186.11913535073415</c:v>
                </c:pt>
                <c:pt idx="836">
                  <c:v>186.08875023002818</c:v>
                </c:pt>
                <c:pt idx="837">
                  <c:v>187.06235797095866</c:v>
                </c:pt>
                <c:pt idx="838">
                  <c:v>188.44723474003604</c:v>
                </c:pt>
                <c:pt idx="839">
                  <c:v>187.65465384500163</c:v>
                </c:pt>
                <c:pt idx="840">
                  <c:v>187.22583847954567</c:v>
                </c:pt>
                <c:pt idx="841">
                  <c:v>186.63568240273554</c:v>
                </c:pt>
                <c:pt idx="842">
                  <c:v>187.48261414748339</c:v>
                </c:pt>
                <c:pt idx="843">
                  <c:v>187.44880535120495</c:v>
                </c:pt>
                <c:pt idx="844">
                  <c:v>187.94695014700406</c:v>
                </c:pt>
                <c:pt idx="845">
                  <c:v>187.59431156303629</c:v>
                </c:pt>
                <c:pt idx="846">
                  <c:v>188.38432470139131</c:v>
                </c:pt>
                <c:pt idx="847">
                  <c:v>188.47334026627635</c:v>
                </c:pt>
                <c:pt idx="848">
                  <c:v>187.9640685248666</c:v>
                </c:pt>
                <c:pt idx="849">
                  <c:v>188.68432427343186</c:v>
                </c:pt>
                <c:pt idx="850">
                  <c:v>187.23268583069068</c:v>
                </c:pt>
                <c:pt idx="851">
                  <c:v>186.68618161742992</c:v>
                </c:pt>
                <c:pt idx="852">
                  <c:v>187.09830656446994</c:v>
                </c:pt>
                <c:pt idx="853">
                  <c:v>187.61314177868502</c:v>
                </c:pt>
                <c:pt idx="854">
                  <c:v>187.572057671815</c:v>
                </c:pt>
                <c:pt idx="855">
                  <c:v>186.84837824767723</c:v>
                </c:pt>
                <c:pt idx="856">
                  <c:v>187.73040266704328</c:v>
                </c:pt>
                <c:pt idx="857">
                  <c:v>188.77847535167567</c:v>
                </c:pt>
                <c:pt idx="858">
                  <c:v>187.56435440177691</c:v>
                </c:pt>
                <c:pt idx="859">
                  <c:v>188.35179978345252</c:v>
                </c:pt>
                <c:pt idx="860">
                  <c:v>190.1958770386918</c:v>
                </c:pt>
                <c:pt idx="861">
                  <c:v>189.70714735071704</c:v>
                </c:pt>
                <c:pt idx="862">
                  <c:v>188.95907423812523</c:v>
                </c:pt>
                <c:pt idx="863">
                  <c:v>188.72455246140876</c:v>
                </c:pt>
                <c:pt idx="864">
                  <c:v>188.91114278011014</c:v>
                </c:pt>
                <c:pt idx="865">
                  <c:v>188.59787646522614</c:v>
                </c:pt>
                <c:pt idx="866">
                  <c:v>188.74124287982471</c:v>
                </c:pt>
                <c:pt idx="867">
                  <c:v>190.16206824241334</c:v>
                </c:pt>
                <c:pt idx="868">
                  <c:v>191.23753033162578</c:v>
                </c:pt>
                <c:pt idx="869">
                  <c:v>190.42783105872886</c:v>
                </c:pt>
                <c:pt idx="870">
                  <c:v>190.53482092036958</c:v>
                </c:pt>
                <c:pt idx="871">
                  <c:v>190.41328043754572</c:v>
                </c:pt>
                <c:pt idx="872">
                  <c:v>191.12840067275226</c:v>
                </c:pt>
                <c:pt idx="873">
                  <c:v>190.34566284498879</c:v>
                </c:pt>
                <c:pt idx="874">
                  <c:v>190.16420803964618</c:v>
                </c:pt>
                <c:pt idx="875">
                  <c:v>190.93753075958523</c:v>
                </c:pt>
                <c:pt idx="876">
                  <c:v>189.63439424480134</c:v>
                </c:pt>
                <c:pt idx="877">
                  <c:v>190.24680421283279</c:v>
                </c:pt>
                <c:pt idx="878">
                  <c:v>192.61256403343219</c:v>
                </c:pt>
                <c:pt idx="879">
                  <c:v>192.79915435213357</c:v>
                </c:pt>
                <c:pt idx="880">
                  <c:v>191.36377836836181</c:v>
                </c:pt>
                <c:pt idx="881">
                  <c:v>192.90314849764835</c:v>
                </c:pt>
                <c:pt idx="882">
                  <c:v>195.57104768752114</c:v>
                </c:pt>
                <c:pt idx="883">
                  <c:v>194.9539301655775</c:v>
                </c:pt>
                <c:pt idx="884">
                  <c:v>196.12183149524751</c:v>
                </c:pt>
                <c:pt idx="885">
                  <c:v>195.19487133399241</c:v>
                </c:pt>
                <c:pt idx="886">
                  <c:v>196.27675281490326</c:v>
                </c:pt>
                <c:pt idx="887">
                  <c:v>195.48759559544135</c:v>
                </c:pt>
                <c:pt idx="888">
                  <c:v>195.70200327816934</c:v>
                </c:pt>
                <c:pt idx="889">
                  <c:v>195.85093316557325</c:v>
                </c:pt>
                <c:pt idx="890">
                  <c:v>193.79715578151811</c:v>
                </c:pt>
                <c:pt idx="891">
                  <c:v>194.31584263075231</c:v>
                </c:pt>
                <c:pt idx="892">
                  <c:v>193.63752690795019</c:v>
                </c:pt>
                <c:pt idx="893">
                  <c:v>193.9127048320901</c:v>
                </c:pt>
                <c:pt idx="894">
                  <c:v>191.53239439030756</c:v>
                </c:pt>
                <c:pt idx="895">
                  <c:v>194.31627059019885</c:v>
                </c:pt>
                <c:pt idx="896">
                  <c:v>195.86248807063043</c:v>
                </c:pt>
                <c:pt idx="897">
                  <c:v>197.71170083922846</c:v>
                </c:pt>
                <c:pt idx="898">
                  <c:v>197.92140096804428</c:v>
                </c:pt>
                <c:pt idx="899">
                  <c:v>198.48844723474005</c:v>
                </c:pt>
                <c:pt idx="900">
                  <c:v>198.49315478865222</c:v>
                </c:pt>
                <c:pt idx="901">
                  <c:v>197.80200028245321</c:v>
                </c:pt>
                <c:pt idx="902">
                  <c:v>197.49515335926768</c:v>
                </c:pt>
                <c:pt idx="903">
                  <c:v>196.5699050357988</c:v>
                </c:pt>
                <c:pt idx="904">
                  <c:v>197.51997500716834</c:v>
                </c:pt>
                <c:pt idx="905">
                  <c:v>199.19415236212217</c:v>
                </c:pt>
                <c:pt idx="906">
                  <c:v>200.52724603816543</c:v>
                </c:pt>
                <c:pt idx="907">
                  <c:v>199.53224032490681</c:v>
                </c:pt>
                <c:pt idx="908">
                  <c:v>199.01141367843982</c:v>
                </c:pt>
                <c:pt idx="909">
                  <c:v>199.41497943654861</c:v>
                </c:pt>
                <c:pt idx="910">
                  <c:v>200.10998557776665</c:v>
                </c:pt>
                <c:pt idx="911">
                  <c:v>200.21697543940732</c:v>
                </c:pt>
                <c:pt idx="912">
                  <c:v>201.5915811817672</c:v>
                </c:pt>
                <c:pt idx="913">
                  <c:v>201.17432072136842</c:v>
                </c:pt>
                <c:pt idx="914">
                  <c:v>199.29771854819037</c:v>
                </c:pt>
                <c:pt idx="915">
                  <c:v>200.52810195705857</c:v>
                </c:pt>
                <c:pt idx="916">
                  <c:v>202.36019634779407</c:v>
                </c:pt>
                <c:pt idx="917">
                  <c:v>202.9024209665892</c:v>
                </c:pt>
                <c:pt idx="918">
                  <c:v>203.92010853051562</c:v>
                </c:pt>
                <c:pt idx="919">
                  <c:v>204.99471470083495</c:v>
                </c:pt>
                <c:pt idx="920">
                  <c:v>204.9930028630487</c:v>
                </c:pt>
                <c:pt idx="921">
                  <c:v>204.91939383823987</c:v>
                </c:pt>
                <c:pt idx="922">
                  <c:v>203.76989476477209</c:v>
                </c:pt>
                <c:pt idx="923">
                  <c:v>206.74635271561664</c:v>
                </c:pt>
                <c:pt idx="924">
                  <c:v>208.57031587686751</c:v>
                </c:pt>
                <c:pt idx="925">
                  <c:v>210.8012684717996</c:v>
                </c:pt>
                <c:pt idx="926">
                  <c:v>210.89541955004341</c:v>
                </c:pt>
                <c:pt idx="927">
                  <c:v>210.09171170939837</c:v>
                </c:pt>
                <c:pt idx="928">
                  <c:v>209.63550693936241</c:v>
                </c:pt>
                <c:pt idx="929">
                  <c:v>210.27744610920669</c:v>
                </c:pt>
                <c:pt idx="930">
                  <c:v>210.19698973325288</c:v>
                </c:pt>
                <c:pt idx="931">
                  <c:v>208.61182794318407</c:v>
                </c:pt>
                <c:pt idx="932">
                  <c:v>208.22281280625847</c:v>
                </c:pt>
                <c:pt idx="933">
                  <c:v>209.93336671417015</c:v>
                </c:pt>
                <c:pt idx="934">
                  <c:v>209.74335271989628</c:v>
                </c:pt>
                <c:pt idx="935">
                  <c:v>209.10398130673133</c:v>
                </c:pt>
                <c:pt idx="936">
                  <c:v>205.60370099329384</c:v>
                </c:pt>
                <c:pt idx="937">
                  <c:v>205.78900743365557</c:v>
                </c:pt>
                <c:pt idx="938">
                  <c:v>205.182588897876</c:v>
                </c:pt>
                <c:pt idx="939">
                  <c:v>205.40127617506965</c:v>
                </c:pt>
                <c:pt idx="940">
                  <c:v>203.60085078337974</c:v>
                </c:pt>
                <c:pt idx="941">
                  <c:v>202.12182293605858</c:v>
                </c:pt>
                <c:pt idx="942">
                  <c:v>199.33623489838101</c:v>
                </c:pt>
                <c:pt idx="943">
                  <c:v>198.37461002195428</c:v>
                </c:pt>
                <c:pt idx="944">
                  <c:v>199.75948679103169</c:v>
                </c:pt>
                <c:pt idx="945">
                  <c:v>198.413126372145</c:v>
                </c:pt>
                <c:pt idx="946">
                  <c:v>196.89387033684687</c:v>
                </c:pt>
                <c:pt idx="947">
                  <c:v>197.4108453482948</c:v>
                </c:pt>
                <c:pt idx="948">
                  <c:v>196.48046151146718</c:v>
                </c:pt>
                <c:pt idx="949">
                  <c:v>192.2068584780906</c:v>
                </c:pt>
                <c:pt idx="950">
                  <c:v>191.45108209546063</c:v>
                </c:pt>
                <c:pt idx="951">
                  <c:v>188.96549362982361</c:v>
                </c:pt>
                <c:pt idx="952">
                  <c:v>193.84166356396065</c:v>
                </c:pt>
                <c:pt idx="953">
                  <c:v>194.36890960212611</c:v>
                </c:pt>
                <c:pt idx="954">
                  <c:v>193.3747598077606</c:v>
                </c:pt>
                <c:pt idx="955">
                  <c:v>194.70913736214357</c:v>
                </c:pt>
                <c:pt idx="956">
                  <c:v>189.44780392609997</c:v>
                </c:pt>
                <c:pt idx="957">
                  <c:v>188.21100112553333</c:v>
                </c:pt>
                <c:pt idx="958">
                  <c:v>184.39274694329964</c:v>
                </c:pt>
                <c:pt idx="959">
                  <c:v>186.59930584977766</c:v>
                </c:pt>
                <c:pt idx="960">
                  <c:v>187.86264213603116</c:v>
                </c:pt>
                <c:pt idx="961">
                  <c:v>190.70771653678099</c:v>
                </c:pt>
                <c:pt idx="962">
                  <c:v>193.04779879058663</c:v>
                </c:pt>
                <c:pt idx="963">
                  <c:v>191.95436240461854</c:v>
                </c:pt>
                <c:pt idx="964">
                  <c:v>191.90514706826377</c:v>
                </c:pt>
                <c:pt idx="965">
                  <c:v>189.97034241035317</c:v>
                </c:pt>
                <c:pt idx="966">
                  <c:v>191.26534769565237</c:v>
                </c:pt>
                <c:pt idx="967">
                  <c:v>192.18032499240371</c:v>
                </c:pt>
                <c:pt idx="968">
                  <c:v>189.42127044041302</c:v>
                </c:pt>
                <c:pt idx="969">
                  <c:v>190.6602130382125</c:v>
                </c:pt>
                <c:pt idx="970">
                  <c:v>192.01085305156482</c:v>
                </c:pt>
                <c:pt idx="971">
                  <c:v>197.25378423140623</c:v>
                </c:pt>
                <c:pt idx="972">
                  <c:v>196.65549692511135</c:v>
                </c:pt>
                <c:pt idx="973">
                  <c:v>196.44151720182995</c:v>
                </c:pt>
                <c:pt idx="974">
                  <c:v>196.02511266032428</c:v>
                </c:pt>
                <c:pt idx="975">
                  <c:v>194.90043523475714</c:v>
                </c:pt>
                <c:pt idx="976">
                  <c:v>196.01869326862587</c:v>
                </c:pt>
                <c:pt idx="977">
                  <c:v>196.16334356156409</c:v>
                </c:pt>
                <c:pt idx="978">
                  <c:v>197.61241424762591</c:v>
                </c:pt>
                <c:pt idx="979">
                  <c:v>200.05520676860661</c:v>
                </c:pt>
                <c:pt idx="980">
                  <c:v>199.77660516889421</c:v>
                </c:pt>
                <c:pt idx="981">
                  <c:v>197.03295715697982</c:v>
                </c:pt>
                <c:pt idx="982">
                  <c:v>197.63680793607995</c:v>
                </c:pt>
                <c:pt idx="983">
                  <c:v>196.07304411833934</c:v>
                </c:pt>
                <c:pt idx="984">
                  <c:v>195.47946436595666</c:v>
                </c:pt>
                <c:pt idx="985">
                  <c:v>193.27590117560462</c:v>
                </c:pt>
                <c:pt idx="986">
                  <c:v>195.02325959592068</c:v>
                </c:pt>
                <c:pt idx="987">
                  <c:v>194.81955089935676</c:v>
                </c:pt>
                <c:pt idx="988">
                  <c:v>195.88303012406544</c:v>
                </c:pt>
                <c:pt idx="989">
                  <c:v>195.38060573380065</c:v>
                </c:pt>
                <c:pt idx="990">
                  <c:v>194.91712565317309</c:v>
                </c:pt>
                <c:pt idx="991">
                  <c:v>195.85863643561134</c:v>
                </c:pt>
                <c:pt idx="992">
                  <c:v>195.88902155631732</c:v>
                </c:pt>
                <c:pt idx="993">
                  <c:v>196.49757988932967</c:v>
                </c:pt>
                <c:pt idx="994">
                  <c:v>196.87076052673248</c:v>
                </c:pt>
                <c:pt idx="995">
                  <c:v>196.51641010497843</c:v>
                </c:pt>
                <c:pt idx="996">
                  <c:v>195.33139039744594</c:v>
                </c:pt>
                <c:pt idx="997">
                  <c:v>194.26876709163039</c:v>
                </c:pt>
                <c:pt idx="998">
                  <c:v>190.6002987156937</c:v>
                </c:pt>
                <c:pt idx="999">
                  <c:v>187.09830656446994</c:v>
                </c:pt>
                <c:pt idx="1000">
                  <c:v>186.07419960884505</c:v>
                </c:pt>
                <c:pt idx="1001">
                  <c:v>184.44838167135279</c:v>
                </c:pt>
                <c:pt idx="1002">
                  <c:v>185.08090573337267</c:v>
                </c:pt>
                <c:pt idx="1003">
                  <c:v>184.72783918995833</c:v>
                </c:pt>
                <c:pt idx="1004">
                  <c:v>181.1916102830096</c:v>
                </c:pt>
                <c:pt idx="1005">
                  <c:v>181.21215233644457</c:v>
                </c:pt>
                <c:pt idx="1006">
                  <c:v>184.30843893232677</c:v>
                </c:pt>
                <c:pt idx="1007">
                  <c:v>184.77534268852685</c:v>
                </c:pt>
                <c:pt idx="1008">
                  <c:v>185.96678178775781</c:v>
                </c:pt>
                <c:pt idx="1009">
                  <c:v>185.51228885550805</c:v>
                </c:pt>
                <c:pt idx="1010">
                  <c:v>183.90958072813018</c:v>
                </c:pt>
                <c:pt idx="1011">
                  <c:v>183.6977408020816</c:v>
                </c:pt>
                <c:pt idx="1012">
                  <c:v>184.58062114034072</c:v>
                </c:pt>
                <c:pt idx="1013">
                  <c:v>188.12797699290016</c:v>
                </c:pt>
                <c:pt idx="1014">
                  <c:v>189.37547877963084</c:v>
                </c:pt>
                <c:pt idx="1015">
                  <c:v>190.36748877676354</c:v>
                </c:pt>
                <c:pt idx="1016">
                  <c:v>190.83139681683764</c:v>
                </c:pt>
                <c:pt idx="1017">
                  <c:v>189.97119832924631</c:v>
                </c:pt>
                <c:pt idx="1018">
                  <c:v>193.37647164554684</c:v>
                </c:pt>
                <c:pt idx="1019">
                  <c:v>193.59558688218704</c:v>
                </c:pt>
                <c:pt idx="1020">
                  <c:v>193.94308995279607</c:v>
                </c:pt>
                <c:pt idx="1021">
                  <c:v>200.19258175095328</c:v>
                </c:pt>
                <c:pt idx="1022">
                  <c:v>200.1009984293888</c:v>
                </c:pt>
                <c:pt idx="1023">
                  <c:v>197.27432628484124</c:v>
                </c:pt>
                <c:pt idx="1024">
                  <c:v>195.5102774461092</c:v>
                </c:pt>
                <c:pt idx="1025">
                  <c:v>195.47775252817044</c:v>
                </c:pt>
                <c:pt idx="1026">
                  <c:v>195.06990717559606</c:v>
                </c:pt>
                <c:pt idx="1027">
                  <c:v>194.93552790937528</c:v>
                </c:pt>
                <c:pt idx="1028">
                  <c:v>191.50072539126191</c:v>
                </c:pt>
                <c:pt idx="1029">
                  <c:v>193.5117068306607</c:v>
                </c:pt>
                <c:pt idx="1030">
                  <c:v>193.39658573953531</c:v>
                </c:pt>
                <c:pt idx="1031">
                  <c:v>194.38132042607643</c:v>
                </c:pt>
                <c:pt idx="1032">
                  <c:v>194.70528572712448</c:v>
                </c:pt>
                <c:pt idx="1033">
                  <c:v>194.35221918371016</c:v>
                </c:pt>
                <c:pt idx="1034">
                  <c:v>194.60343137884252</c:v>
                </c:pt>
                <c:pt idx="1035">
                  <c:v>194.45321761309896</c:v>
                </c:pt>
                <c:pt idx="1036">
                  <c:v>195.81027701814975</c:v>
                </c:pt>
                <c:pt idx="1037">
                  <c:v>197.19729358445994</c:v>
                </c:pt>
                <c:pt idx="1038">
                  <c:v>196.64779365507326</c:v>
                </c:pt>
                <c:pt idx="1039">
                  <c:v>197.08730800669326</c:v>
                </c:pt>
                <c:pt idx="1040">
                  <c:v>197.23367013741776</c:v>
                </c:pt>
                <c:pt idx="1041">
                  <c:v>199.07389575763798</c:v>
                </c:pt>
                <c:pt idx="1042">
                  <c:v>200.17332357585795</c:v>
                </c:pt>
                <c:pt idx="1043">
                  <c:v>198.95834670706603</c:v>
                </c:pt>
                <c:pt idx="1044">
                  <c:v>199.19757603769469</c:v>
                </c:pt>
                <c:pt idx="1045">
                  <c:v>198.93566485639823</c:v>
                </c:pt>
                <c:pt idx="1046">
                  <c:v>199.92339525906527</c:v>
                </c:pt>
                <c:pt idx="1047">
                  <c:v>199.38373839694947</c:v>
                </c:pt>
                <c:pt idx="1048">
                  <c:v>199.78773211450482</c:v>
                </c:pt>
                <c:pt idx="1049">
                  <c:v>199.63537855152845</c:v>
                </c:pt>
                <c:pt idx="1050">
                  <c:v>199.48730458301767</c:v>
                </c:pt>
                <c:pt idx="1051">
                  <c:v>199.2330966717594</c:v>
                </c:pt>
                <c:pt idx="1052">
                  <c:v>197.56790646518337</c:v>
                </c:pt>
                <c:pt idx="1053">
                  <c:v>197.01155918465167</c:v>
                </c:pt>
                <c:pt idx="1054">
                  <c:v>197.27261444705496</c:v>
                </c:pt>
                <c:pt idx="1055">
                  <c:v>197.30642324333346</c:v>
                </c:pt>
                <c:pt idx="1056">
                  <c:v>197.05478308875453</c:v>
                </c:pt>
                <c:pt idx="1057">
                  <c:v>195.83338682826411</c:v>
                </c:pt>
                <c:pt idx="1058">
                  <c:v>194.50885234115214</c:v>
                </c:pt>
                <c:pt idx="1059">
                  <c:v>193.94522975002886</c:v>
                </c:pt>
                <c:pt idx="1060">
                  <c:v>192.67718590986317</c:v>
                </c:pt>
                <c:pt idx="1061">
                  <c:v>194.20842480966505</c:v>
                </c:pt>
                <c:pt idx="1062">
                  <c:v>194.81355946710488</c:v>
                </c:pt>
                <c:pt idx="1063">
                  <c:v>195.88303012406544</c:v>
                </c:pt>
                <c:pt idx="1064">
                  <c:v>195.63395772616585</c:v>
                </c:pt>
                <c:pt idx="1065">
                  <c:v>194.41427330346175</c:v>
                </c:pt>
                <c:pt idx="1066">
                  <c:v>192.00058202484735</c:v>
                </c:pt>
                <c:pt idx="1067">
                  <c:v>190.88189603153202</c:v>
                </c:pt>
                <c:pt idx="1068">
                  <c:v>190.3272605887866</c:v>
                </c:pt>
                <c:pt idx="1069">
                  <c:v>189.52226886980191</c:v>
                </c:pt>
                <c:pt idx="1070">
                  <c:v>189.58689074623288</c:v>
                </c:pt>
                <c:pt idx="1071">
                  <c:v>189.94637668134567</c:v>
                </c:pt>
                <c:pt idx="1072">
                  <c:v>190.98589017704683</c:v>
                </c:pt>
                <c:pt idx="1073">
                  <c:v>192.79658659545422</c:v>
                </c:pt>
                <c:pt idx="1074">
                  <c:v>192.39986818849044</c:v>
                </c:pt>
                <c:pt idx="1075">
                  <c:v>190.52540581254519</c:v>
                </c:pt>
                <c:pt idx="1076">
                  <c:v>188.97105710262895</c:v>
                </c:pt>
                <c:pt idx="1077">
                  <c:v>188.37105795854782</c:v>
                </c:pt>
                <c:pt idx="1078">
                  <c:v>189.85350948144153</c:v>
                </c:pt>
                <c:pt idx="1079">
                  <c:v>189.39987246808491</c:v>
                </c:pt>
                <c:pt idx="1080">
                  <c:v>188.91713421236201</c:v>
                </c:pt>
                <c:pt idx="1081">
                  <c:v>187.58618033355162</c:v>
                </c:pt>
                <c:pt idx="1082">
                  <c:v>186.94809279872638</c:v>
                </c:pt>
                <c:pt idx="1083">
                  <c:v>185.80287331972423</c:v>
                </c:pt>
                <c:pt idx="1084">
                  <c:v>186.02755202916973</c:v>
                </c:pt>
                <c:pt idx="1085">
                  <c:v>185.87263070951394</c:v>
                </c:pt>
                <c:pt idx="1086">
                  <c:v>185.48404353203489</c:v>
                </c:pt>
                <c:pt idx="1087">
                  <c:v>185.69502753919039</c:v>
                </c:pt>
                <c:pt idx="1088">
                  <c:v>185.7532300239229</c:v>
                </c:pt>
                <c:pt idx="1089">
                  <c:v>186.11143208069606</c:v>
                </c:pt>
                <c:pt idx="1090">
                  <c:v>186.56635297239234</c:v>
                </c:pt>
                <c:pt idx="1091">
                  <c:v>187.06492572763804</c:v>
                </c:pt>
                <c:pt idx="1092">
                  <c:v>187.68118733068852</c:v>
                </c:pt>
                <c:pt idx="1093">
                  <c:v>185.20929356734152</c:v>
                </c:pt>
                <c:pt idx="1094">
                  <c:v>182.5067296622972</c:v>
                </c:pt>
                <c:pt idx="1095">
                  <c:v>180.95708850629313</c:v>
                </c:pt>
                <c:pt idx="1096">
                  <c:v>181.41757287079477</c:v>
                </c:pt>
                <c:pt idx="1097">
                  <c:v>183.01600140370695</c:v>
                </c:pt>
                <c:pt idx="1098">
                  <c:v>182.70958243996799</c:v>
                </c:pt>
                <c:pt idx="1099">
                  <c:v>183.44010921525077</c:v>
                </c:pt>
                <c:pt idx="1100">
                  <c:v>185.17805252774247</c:v>
                </c:pt>
                <c:pt idx="1101">
                  <c:v>184.79545678251529</c:v>
                </c:pt>
                <c:pt idx="1102">
                  <c:v>182.61799911840356</c:v>
                </c:pt>
                <c:pt idx="1103">
                  <c:v>182.39546020619085</c:v>
                </c:pt>
                <c:pt idx="1104">
                  <c:v>182.19603110409255</c:v>
                </c:pt>
                <c:pt idx="1105">
                  <c:v>181.69189487604154</c:v>
                </c:pt>
                <c:pt idx="1106">
                  <c:v>181.718856321175</c:v>
                </c:pt>
                <c:pt idx="1107">
                  <c:v>181.50616047623328</c:v>
                </c:pt>
                <c:pt idx="1108">
                  <c:v>181.34396384598594</c:v>
                </c:pt>
                <c:pt idx="1109">
                  <c:v>180.63483504303133</c:v>
                </c:pt>
                <c:pt idx="1110">
                  <c:v>177.73883346814057</c:v>
                </c:pt>
                <c:pt idx="1111">
                  <c:v>178.0606589719558</c:v>
                </c:pt>
                <c:pt idx="1112">
                  <c:v>178.00759200058201</c:v>
                </c:pt>
                <c:pt idx="1113">
                  <c:v>177.19917660602482</c:v>
                </c:pt>
                <c:pt idx="1114">
                  <c:v>177.36522487129119</c:v>
                </c:pt>
                <c:pt idx="1115">
                  <c:v>176.84225842759139</c:v>
                </c:pt>
                <c:pt idx="1116">
                  <c:v>175.61743849152856</c:v>
                </c:pt>
                <c:pt idx="1117">
                  <c:v>175.9358403197713</c:v>
                </c:pt>
                <c:pt idx="1118">
                  <c:v>177.86379762653689</c:v>
                </c:pt>
                <c:pt idx="1119">
                  <c:v>179.43312491708286</c:v>
                </c:pt>
                <c:pt idx="1120">
                  <c:v>179.4232818498119</c:v>
                </c:pt>
                <c:pt idx="1121">
                  <c:v>180.94382176344971</c:v>
                </c:pt>
                <c:pt idx="1122">
                  <c:v>181.85494742518199</c:v>
                </c:pt>
                <c:pt idx="1123">
                  <c:v>181.41757287079477</c:v>
                </c:pt>
                <c:pt idx="1124">
                  <c:v>182.25380562937858</c:v>
                </c:pt>
                <c:pt idx="1125">
                  <c:v>184.55922316801258</c:v>
                </c:pt>
                <c:pt idx="1126">
                  <c:v>184.02042222478997</c:v>
                </c:pt>
                <c:pt idx="1127">
                  <c:v>184.73811021667586</c:v>
                </c:pt>
                <c:pt idx="1128">
                  <c:v>183.83853946000076</c:v>
                </c:pt>
                <c:pt idx="1129">
                  <c:v>184.83268925436627</c:v>
                </c:pt>
                <c:pt idx="1130">
                  <c:v>185.40273123718796</c:v>
                </c:pt>
                <c:pt idx="1131">
                  <c:v>185.11599840799087</c:v>
                </c:pt>
                <c:pt idx="1132">
                  <c:v>184.39531469997902</c:v>
                </c:pt>
                <c:pt idx="1133">
                  <c:v>184.89859500913695</c:v>
                </c:pt>
                <c:pt idx="1134">
                  <c:v>185.76136125340764</c:v>
                </c:pt>
                <c:pt idx="1135">
                  <c:v>185.15708251486089</c:v>
                </c:pt>
                <c:pt idx="1136">
                  <c:v>186.10758044567697</c:v>
                </c:pt>
                <c:pt idx="1137">
                  <c:v>186.64466955111334</c:v>
                </c:pt>
                <c:pt idx="1138">
                  <c:v>188.32227058163969</c:v>
                </c:pt>
                <c:pt idx="1139">
                  <c:v>187.73981777486765</c:v>
                </c:pt>
                <c:pt idx="1140">
                  <c:v>185.94538381542966</c:v>
                </c:pt>
                <c:pt idx="1141">
                  <c:v>186.87063213889851</c:v>
                </c:pt>
                <c:pt idx="1142">
                  <c:v>184.90972195474754</c:v>
                </c:pt>
                <c:pt idx="1143">
                  <c:v>186.12341494519978</c:v>
                </c:pt>
                <c:pt idx="1144">
                  <c:v>185.25208951199781</c:v>
                </c:pt>
                <c:pt idx="1145">
                  <c:v>185.9111470597046</c:v>
                </c:pt>
                <c:pt idx="1146">
                  <c:v>185.93254503203275</c:v>
                </c:pt>
                <c:pt idx="1147">
                  <c:v>185.60173237983966</c:v>
                </c:pt>
                <c:pt idx="1148">
                  <c:v>183.36307651486945</c:v>
                </c:pt>
                <c:pt idx="1149">
                  <c:v>183.96778321286277</c:v>
                </c:pt>
                <c:pt idx="1150">
                  <c:v>185.55979235407654</c:v>
                </c:pt>
                <c:pt idx="1151">
                  <c:v>185.63425729777845</c:v>
                </c:pt>
                <c:pt idx="1152">
                  <c:v>187.1381067930003</c:v>
                </c:pt>
                <c:pt idx="1153">
                  <c:v>187.58190073908597</c:v>
                </c:pt>
                <c:pt idx="1154">
                  <c:v>189.05878878917434</c:v>
                </c:pt>
                <c:pt idx="1155">
                  <c:v>190.06877308306264</c:v>
                </c:pt>
                <c:pt idx="1156">
                  <c:v>191.34837182828556</c:v>
                </c:pt>
                <c:pt idx="1157">
                  <c:v>191.40828615080434</c:v>
                </c:pt>
                <c:pt idx="1158">
                  <c:v>191.84138111072593</c:v>
                </c:pt>
                <c:pt idx="1159">
                  <c:v>192.00486161931295</c:v>
                </c:pt>
                <c:pt idx="1160">
                  <c:v>192.65065242417626</c:v>
                </c:pt>
                <c:pt idx="1161">
                  <c:v>193.93025116939918</c:v>
                </c:pt>
                <c:pt idx="1162">
                  <c:v>194.64879508017822</c:v>
                </c:pt>
                <c:pt idx="1163">
                  <c:v>194.11555760976088</c:v>
                </c:pt>
                <c:pt idx="1164">
                  <c:v>193.86348949573537</c:v>
                </c:pt>
                <c:pt idx="1165">
                  <c:v>193.9127048320901</c:v>
                </c:pt>
                <c:pt idx="1166">
                  <c:v>194.61199056777377</c:v>
                </c:pt>
                <c:pt idx="1167">
                  <c:v>195.1486517137636</c:v>
                </c:pt>
                <c:pt idx="1168">
                  <c:v>195.56805197139516</c:v>
                </c:pt>
                <c:pt idx="1169">
                  <c:v>195.55350135021203</c:v>
                </c:pt>
                <c:pt idx="1170">
                  <c:v>194.69672653819322</c:v>
                </c:pt>
                <c:pt idx="1171">
                  <c:v>195.61341567273084</c:v>
                </c:pt>
                <c:pt idx="1172">
                  <c:v>195.13624088981325</c:v>
                </c:pt>
                <c:pt idx="1173">
                  <c:v>194.01113550479954</c:v>
                </c:pt>
                <c:pt idx="1174">
                  <c:v>194.45878108590429</c:v>
                </c:pt>
                <c:pt idx="1175">
                  <c:v>196.37646736595241</c:v>
                </c:pt>
                <c:pt idx="1176">
                  <c:v>196.60285791318415</c:v>
                </c:pt>
                <c:pt idx="1177">
                  <c:v>196.43680964791776</c:v>
                </c:pt>
                <c:pt idx="1178">
                  <c:v>196.39786533828055</c:v>
                </c:pt>
                <c:pt idx="1179">
                  <c:v>196.65592488455792</c:v>
                </c:pt>
                <c:pt idx="1180">
                  <c:v>196.44536883684901</c:v>
                </c:pt>
                <c:pt idx="1181">
                  <c:v>197.15706539648301</c:v>
                </c:pt>
                <c:pt idx="1182">
                  <c:v>197.6410875305456</c:v>
                </c:pt>
                <c:pt idx="1183">
                  <c:v>196.58188790030258</c:v>
                </c:pt>
                <c:pt idx="1184">
                  <c:v>196.42354290507433</c:v>
                </c:pt>
                <c:pt idx="1185">
                  <c:v>199.27846037309502</c:v>
                </c:pt>
                <c:pt idx="1186">
                  <c:v>199.71626288692883</c:v>
                </c:pt>
                <c:pt idx="1187">
                  <c:v>200.1369470229001</c:v>
                </c:pt>
                <c:pt idx="1188">
                  <c:v>201.351923891692</c:v>
                </c:pt>
                <c:pt idx="1189">
                  <c:v>199.89215421946614</c:v>
                </c:pt>
                <c:pt idx="1190">
                  <c:v>200.18188276478921</c:v>
                </c:pt>
                <c:pt idx="1191">
                  <c:v>200.61925731917643</c:v>
                </c:pt>
                <c:pt idx="1192">
                  <c:v>200.07489290314848</c:v>
                </c:pt>
                <c:pt idx="1193">
                  <c:v>199.69015736068852</c:v>
                </c:pt>
                <c:pt idx="1194">
                  <c:v>198.91512280296317</c:v>
                </c:pt>
                <c:pt idx="1195">
                  <c:v>198.7246808492427</c:v>
                </c:pt>
                <c:pt idx="1196">
                  <c:v>199.78687619561168</c:v>
                </c:pt>
                <c:pt idx="1197">
                  <c:v>198.39943166985495</c:v>
                </c:pt>
                <c:pt idx="1198">
                  <c:v>198.25820505248925</c:v>
                </c:pt>
                <c:pt idx="1199">
                  <c:v>198.91084320849757</c:v>
                </c:pt>
                <c:pt idx="1200">
                  <c:v>197.93167199476179</c:v>
                </c:pt>
                <c:pt idx="1201">
                  <c:v>198.02068755964686</c:v>
                </c:pt>
                <c:pt idx="1202">
                  <c:v>199.6880175634557</c:v>
                </c:pt>
                <c:pt idx="1203">
                  <c:v>199.76333842605075</c:v>
                </c:pt>
                <c:pt idx="1204">
                  <c:v>200.22039911497984</c:v>
                </c:pt>
                <c:pt idx="1205">
                  <c:v>200.22724646612485</c:v>
                </c:pt>
                <c:pt idx="1206">
                  <c:v>199.68758960400913</c:v>
                </c:pt>
                <c:pt idx="1207">
                  <c:v>199.43594944943015</c:v>
                </c:pt>
                <c:pt idx="1208">
                  <c:v>198.84322561594067</c:v>
                </c:pt>
                <c:pt idx="1209">
                  <c:v>198.16490989313854</c:v>
                </c:pt>
                <c:pt idx="1210">
                  <c:v>197.82040253865543</c:v>
                </c:pt>
                <c:pt idx="1211">
                  <c:v>198.34165714456898</c:v>
                </c:pt>
                <c:pt idx="1212">
                  <c:v>197.6398036522059</c:v>
                </c:pt>
                <c:pt idx="1213">
                  <c:v>198.20471012166888</c:v>
                </c:pt>
                <c:pt idx="1214">
                  <c:v>198.65406754055985</c:v>
                </c:pt>
                <c:pt idx="1215">
                  <c:v>198.2308156479092</c:v>
                </c:pt>
                <c:pt idx="1216">
                  <c:v>199.23052891507999</c:v>
                </c:pt>
                <c:pt idx="1217">
                  <c:v>199.6683314289138</c:v>
                </c:pt>
                <c:pt idx="1218">
                  <c:v>200.13780294179324</c:v>
                </c:pt>
                <c:pt idx="1219">
                  <c:v>199.79415150620326</c:v>
                </c:pt>
                <c:pt idx="1220">
                  <c:v>200.91711709398416</c:v>
                </c:pt>
                <c:pt idx="1221">
                  <c:v>201.21198115266594</c:v>
                </c:pt>
                <c:pt idx="1222">
                  <c:v>201.83765786354084</c:v>
                </c:pt>
                <c:pt idx="1223">
                  <c:v>203.60684221563164</c:v>
                </c:pt>
                <c:pt idx="1224">
                  <c:v>204.34378838261287</c:v>
                </c:pt>
                <c:pt idx="1225">
                  <c:v>204.18244767125864</c:v>
                </c:pt>
                <c:pt idx="1226">
                  <c:v>204.77902313976725</c:v>
                </c:pt>
                <c:pt idx="1227">
                  <c:v>204.84535685398453</c:v>
                </c:pt>
                <c:pt idx="1228">
                  <c:v>205.16076296610132</c:v>
                </c:pt>
                <c:pt idx="1229">
                  <c:v>205.11283150808629</c:v>
                </c:pt>
                <c:pt idx="1230">
                  <c:v>205.58487077764508</c:v>
                </c:pt>
                <c:pt idx="1231">
                  <c:v>205.81511295989591</c:v>
                </c:pt>
                <c:pt idx="1232">
                  <c:v>206.01967757535294</c:v>
                </c:pt>
                <c:pt idx="1233">
                  <c:v>207.16532501380169</c:v>
                </c:pt>
                <c:pt idx="1234">
                  <c:v>206.84478338832611</c:v>
                </c:pt>
                <c:pt idx="1235">
                  <c:v>208.53051564833714</c:v>
                </c:pt>
                <c:pt idx="1236">
                  <c:v>208.52837585110433</c:v>
                </c:pt>
                <c:pt idx="1237">
                  <c:v>208.42309782724988</c:v>
                </c:pt>
                <c:pt idx="1238">
                  <c:v>208.18172869938846</c:v>
                </c:pt>
                <c:pt idx="1239">
                  <c:v>208.3430694107426</c:v>
                </c:pt>
                <c:pt idx="1240">
                  <c:v>207.7584768067378</c:v>
                </c:pt>
                <c:pt idx="1241">
                  <c:v>207.29713652334306</c:v>
                </c:pt>
                <c:pt idx="1242">
                  <c:v>205.53779523852319</c:v>
                </c:pt>
                <c:pt idx="1243">
                  <c:v>206.39927760445417</c:v>
                </c:pt>
                <c:pt idx="1244">
                  <c:v>207.49613766599478</c:v>
                </c:pt>
                <c:pt idx="1245">
                  <c:v>206.0718886278336</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087</c:v>
                </c:pt>
                <c:pt idx="1">
                  <c:v>40088</c:v>
                </c:pt>
                <c:pt idx="2">
                  <c:v>40091</c:v>
                </c:pt>
                <c:pt idx="3">
                  <c:v>40092</c:v>
                </c:pt>
                <c:pt idx="4">
                  <c:v>40093</c:v>
                </c:pt>
                <c:pt idx="5">
                  <c:v>40094</c:v>
                </c:pt>
                <c:pt idx="6">
                  <c:v>40095</c:v>
                </c:pt>
                <c:pt idx="7">
                  <c:v>40098</c:v>
                </c:pt>
                <c:pt idx="8">
                  <c:v>40099</c:v>
                </c:pt>
                <c:pt idx="9">
                  <c:v>40100</c:v>
                </c:pt>
                <c:pt idx="10">
                  <c:v>40101</c:v>
                </c:pt>
                <c:pt idx="11">
                  <c:v>40102</c:v>
                </c:pt>
                <c:pt idx="12">
                  <c:v>40105</c:v>
                </c:pt>
                <c:pt idx="13">
                  <c:v>40106</c:v>
                </c:pt>
                <c:pt idx="14">
                  <c:v>40107</c:v>
                </c:pt>
                <c:pt idx="15">
                  <c:v>40108</c:v>
                </c:pt>
                <c:pt idx="16">
                  <c:v>40109</c:v>
                </c:pt>
                <c:pt idx="17">
                  <c:v>40112</c:v>
                </c:pt>
                <c:pt idx="18">
                  <c:v>40113</c:v>
                </c:pt>
                <c:pt idx="19">
                  <c:v>40114</c:v>
                </c:pt>
                <c:pt idx="20">
                  <c:v>40115</c:v>
                </c:pt>
                <c:pt idx="21">
                  <c:v>40116</c:v>
                </c:pt>
                <c:pt idx="22">
                  <c:v>40119</c:v>
                </c:pt>
                <c:pt idx="23">
                  <c:v>40120</c:v>
                </c:pt>
                <c:pt idx="24">
                  <c:v>40121</c:v>
                </c:pt>
                <c:pt idx="25">
                  <c:v>40122</c:v>
                </c:pt>
                <c:pt idx="26">
                  <c:v>40123</c:v>
                </c:pt>
                <c:pt idx="27">
                  <c:v>40126</c:v>
                </c:pt>
                <c:pt idx="28">
                  <c:v>40127</c:v>
                </c:pt>
                <c:pt idx="29">
                  <c:v>40128</c:v>
                </c:pt>
                <c:pt idx="30">
                  <c:v>40129</c:v>
                </c:pt>
                <c:pt idx="31">
                  <c:v>40130</c:v>
                </c:pt>
                <c:pt idx="32">
                  <c:v>40133</c:v>
                </c:pt>
                <c:pt idx="33">
                  <c:v>40134</c:v>
                </c:pt>
                <c:pt idx="34">
                  <c:v>40135</c:v>
                </c:pt>
                <c:pt idx="35">
                  <c:v>40136</c:v>
                </c:pt>
                <c:pt idx="36">
                  <c:v>40137</c:v>
                </c:pt>
                <c:pt idx="37">
                  <c:v>40140</c:v>
                </c:pt>
                <c:pt idx="38">
                  <c:v>40141</c:v>
                </c:pt>
                <c:pt idx="39">
                  <c:v>40142</c:v>
                </c:pt>
                <c:pt idx="40">
                  <c:v>40143</c:v>
                </c:pt>
                <c:pt idx="41">
                  <c:v>40144</c:v>
                </c:pt>
                <c:pt idx="42">
                  <c:v>40147</c:v>
                </c:pt>
                <c:pt idx="43">
                  <c:v>40148</c:v>
                </c:pt>
                <c:pt idx="44">
                  <c:v>40149</c:v>
                </c:pt>
                <c:pt idx="45">
                  <c:v>40150</c:v>
                </c:pt>
                <c:pt idx="46">
                  <c:v>40151</c:v>
                </c:pt>
                <c:pt idx="47">
                  <c:v>40154</c:v>
                </c:pt>
                <c:pt idx="48">
                  <c:v>40155</c:v>
                </c:pt>
                <c:pt idx="49">
                  <c:v>40156</c:v>
                </c:pt>
                <c:pt idx="50">
                  <c:v>40157</c:v>
                </c:pt>
                <c:pt idx="51">
                  <c:v>40158</c:v>
                </c:pt>
                <c:pt idx="52">
                  <c:v>40161</c:v>
                </c:pt>
                <c:pt idx="53">
                  <c:v>40162</c:v>
                </c:pt>
                <c:pt idx="54">
                  <c:v>40163</c:v>
                </c:pt>
                <c:pt idx="55">
                  <c:v>40164</c:v>
                </c:pt>
                <c:pt idx="56">
                  <c:v>40165</c:v>
                </c:pt>
                <c:pt idx="57">
                  <c:v>40168</c:v>
                </c:pt>
                <c:pt idx="58">
                  <c:v>40169</c:v>
                </c:pt>
                <c:pt idx="59">
                  <c:v>40170</c:v>
                </c:pt>
                <c:pt idx="60">
                  <c:v>40171</c:v>
                </c:pt>
                <c:pt idx="61">
                  <c:v>40175</c:v>
                </c:pt>
                <c:pt idx="62">
                  <c:v>40176</c:v>
                </c:pt>
                <c:pt idx="63">
                  <c:v>40177</c:v>
                </c:pt>
                <c:pt idx="64">
                  <c:v>40178</c:v>
                </c:pt>
                <c:pt idx="65">
                  <c:v>40182</c:v>
                </c:pt>
                <c:pt idx="66">
                  <c:v>40183</c:v>
                </c:pt>
                <c:pt idx="67">
                  <c:v>40184</c:v>
                </c:pt>
                <c:pt idx="68">
                  <c:v>40185</c:v>
                </c:pt>
                <c:pt idx="69">
                  <c:v>40186</c:v>
                </c:pt>
                <c:pt idx="70">
                  <c:v>40189</c:v>
                </c:pt>
                <c:pt idx="71">
                  <c:v>40190</c:v>
                </c:pt>
                <c:pt idx="72">
                  <c:v>40191</c:v>
                </c:pt>
                <c:pt idx="73">
                  <c:v>40192</c:v>
                </c:pt>
                <c:pt idx="74">
                  <c:v>40193</c:v>
                </c:pt>
                <c:pt idx="75">
                  <c:v>40196</c:v>
                </c:pt>
                <c:pt idx="76">
                  <c:v>40197</c:v>
                </c:pt>
                <c:pt idx="77">
                  <c:v>40198</c:v>
                </c:pt>
                <c:pt idx="78">
                  <c:v>40199</c:v>
                </c:pt>
                <c:pt idx="79">
                  <c:v>40200</c:v>
                </c:pt>
                <c:pt idx="80">
                  <c:v>40203</c:v>
                </c:pt>
                <c:pt idx="81">
                  <c:v>40204</c:v>
                </c:pt>
                <c:pt idx="82">
                  <c:v>40205</c:v>
                </c:pt>
                <c:pt idx="83">
                  <c:v>40206</c:v>
                </c:pt>
                <c:pt idx="84">
                  <c:v>40207</c:v>
                </c:pt>
                <c:pt idx="85">
                  <c:v>40210</c:v>
                </c:pt>
                <c:pt idx="86">
                  <c:v>40211</c:v>
                </c:pt>
                <c:pt idx="87">
                  <c:v>40212</c:v>
                </c:pt>
                <c:pt idx="88">
                  <c:v>40213</c:v>
                </c:pt>
                <c:pt idx="89">
                  <c:v>40214</c:v>
                </c:pt>
                <c:pt idx="90">
                  <c:v>40217</c:v>
                </c:pt>
                <c:pt idx="91">
                  <c:v>40218</c:v>
                </c:pt>
                <c:pt idx="92">
                  <c:v>40219</c:v>
                </c:pt>
                <c:pt idx="93">
                  <c:v>40220</c:v>
                </c:pt>
                <c:pt idx="94">
                  <c:v>40221</c:v>
                </c:pt>
                <c:pt idx="95">
                  <c:v>40224</c:v>
                </c:pt>
                <c:pt idx="96">
                  <c:v>40225</c:v>
                </c:pt>
                <c:pt idx="97">
                  <c:v>40226</c:v>
                </c:pt>
                <c:pt idx="98">
                  <c:v>40227</c:v>
                </c:pt>
                <c:pt idx="99">
                  <c:v>40228</c:v>
                </c:pt>
                <c:pt idx="100">
                  <c:v>40231</c:v>
                </c:pt>
                <c:pt idx="101">
                  <c:v>40232</c:v>
                </c:pt>
                <c:pt idx="102">
                  <c:v>40233</c:v>
                </c:pt>
                <c:pt idx="103">
                  <c:v>40234</c:v>
                </c:pt>
                <c:pt idx="104">
                  <c:v>40235</c:v>
                </c:pt>
                <c:pt idx="105">
                  <c:v>40238</c:v>
                </c:pt>
                <c:pt idx="106">
                  <c:v>40239</c:v>
                </c:pt>
                <c:pt idx="107">
                  <c:v>40240</c:v>
                </c:pt>
                <c:pt idx="108">
                  <c:v>40241</c:v>
                </c:pt>
                <c:pt idx="109">
                  <c:v>40242</c:v>
                </c:pt>
                <c:pt idx="110">
                  <c:v>40245</c:v>
                </c:pt>
                <c:pt idx="111">
                  <c:v>40246</c:v>
                </c:pt>
                <c:pt idx="112">
                  <c:v>40247</c:v>
                </c:pt>
                <c:pt idx="113">
                  <c:v>40248</c:v>
                </c:pt>
                <c:pt idx="114">
                  <c:v>40249</c:v>
                </c:pt>
                <c:pt idx="115">
                  <c:v>40252</c:v>
                </c:pt>
                <c:pt idx="116">
                  <c:v>40253</c:v>
                </c:pt>
                <c:pt idx="117">
                  <c:v>40254</c:v>
                </c:pt>
                <c:pt idx="118">
                  <c:v>40255</c:v>
                </c:pt>
                <c:pt idx="119">
                  <c:v>40256</c:v>
                </c:pt>
                <c:pt idx="120">
                  <c:v>40259</c:v>
                </c:pt>
                <c:pt idx="121">
                  <c:v>40260</c:v>
                </c:pt>
                <c:pt idx="122">
                  <c:v>40261</c:v>
                </c:pt>
                <c:pt idx="123">
                  <c:v>40262</c:v>
                </c:pt>
                <c:pt idx="124">
                  <c:v>40263</c:v>
                </c:pt>
                <c:pt idx="125">
                  <c:v>40266</c:v>
                </c:pt>
                <c:pt idx="126">
                  <c:v>40267</c:v>
                </c:pt>
                <c:pt idx="127">
                  <c:v>40268</c:v>
                </c:pt>
                <c:pt idx="128">
                  <c:v>40269</c:v>
                </c:pt>
                <c:pt idx="129">
                  <c:v>40274</c:v>
                </c:pt>
                <c:pt idx="130">
                  <c:v>40275</c:v>
                </c:pt>
                <c:pt idx="131">
                  <c:v>40276</c:v>
                </c:pt>
                <c:pt idx="132">
                  <c:v>40277</c:v>
                </c:pt>
                <c:pt idx="133">
                  <c:v>40280</c:v>
                </c:pt>
                <c:pt idx="134">
                  <c:v>40281</c:v>
                </c:pt>
                <c:pt idx="135">
                  <c:v>40282</c:v>
                </c:pt>
                <c:pt idx="136">
                  <c:v>40283</c:v>
                </c:pt>
                <c:pt idx="137">
                  <c:v>40284</c:v>
                </c:pt>
                <c:pt idx="138">
                  <c:v>40287</c:v>
                </c:pt>
                <c:pt idx="139">
                  <c:v>40288</c:v>
                </c:pt>
                <c:pt idx="140">
                  <c:v>40289</c:v>
                </c:pt>
                <c:pt idx="141">
                  <c:v>40290</c:v>
                </c:pt>
                <c:pt idx="142">
                  <c:v>40291</c:v>
                </c:pt>
                <c:pt idx="143">
                  <c:v>40294</c:v>
                </c:pt>
                <c:pt idx="144">
                  <c:v>40295</c:v>
                </c:pt>
                <c:pt idx="145">
                  <c:v>40296</c:v>
                </c:pt>
                <c:pt idx="146">
                  <c:v>40297</c:v>
                </c:pt>
                <c:pt idx="147">
                  <c:v>40298</c:v>
                </c:pt>
                <c:pt idx="148">
                  <c:v>40301</c:v>
                </c:pt>
                <c:pt idx="149">
                  <c:v>40302</c:v>
                </c:pt>
                <c:pt idx="150">
                  <c:v>40303</c:v>
                </c:pt>
                <c:pt idx="151">
                  <c:v>40304</c:v>
                </c:pt>
                <c:pt idx="152">
                  <c:v>40305</c:v>
                </c:pt>
                <c:pt idx="153">
                  <c:v>40308</c:v>
                </c:pt>
                <c:pt idx="154">
                  <c:v>40309</c:v>
                </c:pt>
                <c:pt idx="155">
                  <c:v>40310</c:v>
                </c:pt>
                <c:pt idx="156">
                  <c:v>40311</c:v>
                </c:pt>
                <c:pt idx="157">
                  <c:v>40312</c:v>
                </c:pt>
                <c:pt idx="158">
                  <c:v>40315</c:v>
                </c:pt>
                <c:pt idx="159">
                  <c:v>40316</c:v>
                </c:pt>
                <c:pt idx="160">
                  <c:v>40317</c:v>
                </c:pt>
                <c:pt idx="161">
                  <c:v>40318</c:v>
                </c:pt>
                <c:pt idx="162">
                  <c:v>40319</c:v>
                </c:pt>
                <c:pt idx="163">
                  <c:v>40322</c:v>
                </c:pt>
                <c:pt idx="164">
                  <c:v>40323</c:v>
                </c:pt>
                <c:pt idx="165">
                  <c:v>40324</c:v>
                </c:pt>
                <c:pt idx="166">
                  <c:v>40325</c:v>
                </c:pt>
                <c:pt idx="167">
                  <c:v>40326</c:v>
                </c:pt>
                <c:pt idx="168">
                  <c:v>40329</c:v>
                </c:pt>
                <c:pt idx="169">
                  <c:v>40330</c:v>
                </c:pt>
                <c:pt idx="170">
                  <c:v>40331</c:v>
                </c:pt>
                <c:pt idx="171">
                  <c:v>40332</c:v>
                </c:pt>
                <c:pt idx="172">
                  <c:v>40333</c:v>
                </c:pt>
                <c:pt idx="173">
                  <c:v>40336</c:v>
                </c:pt>
                <c:pt idx="174">
                  <c:v>40337</c:v>
                </c:pt>
                <c:pt idx="175">
                  <c:v>40338</c:v>
                </c:pt>
                <c:pt idx="176">
                  <c:v>40339</c:v>
                </c:pt>
                <c:pt idx="177">
                  <c:v>40340</c:v>
                </c:pt>
                <c:pt idx="178">
                  <c:v>40343</c:v>
                </c:pt>
                <c:pt idx="179">
                  <c:v>40344</c:v>
                </c:pt>
                <c:pt idx="180">
                  <c:v>40345</c:v>
                </c:pt>
                <c:pt idx="181">
                  <c:v>40346</c:v>
                </c:pt>
                <c:pt idx="182">
                  <c:v>40347</c:v>
                </c:pt>
                <c:pt idx="183">
                  <c:v>40350</c:v>
                </c:pt>
                <c:pt idx="184">
                  <c:v>40351</c:v>
                </c:pt>
                <c:pt idx="185">
                  <c:v>40352</c:v>
                </c:pt>
                <c:pt idx="186">
                  <c:v>40353</c:v>
                </c:pt>
                <c:pt idx="187">
                  <c:v>40354</c:v>
                </c:pt>
                <c:pt idx="188">
                  <c:v>40357</c:v>
                </c:pt>
                <c:pt idx="189">
                  <c:v>40358</c:v>
                </c:pt>
                <c:pt idx="190">
                  <c:v>40359</c:v>
                </c:pt>
                <c:pt idx="191">
                  <c:v>40360</c:v>
                </c:pt>
                <c:pt idx="192">
                  <c:v>40361</c:v>
                </c:pt>
                <c:pt idx="193">
                  <c:v>40364</c:v>
                </c:pt>
                <c:pt idx="194">
                  <c:v>40365</c:v>
                </c:pt>
                <c:pt idx="195">
                  <c:v>40366</c:v>
                </c:pt>
                <c:pt idx="196">
                  <c:v>40367</c:v>
                </c:pt>
                <c:pt idx="197">
                  <c:v>40368</c:v>
                </c:pt>
                <c:pt idx="198">
                  <c:v>40371</c:v>
                </c:pt>
                <c:pt idx="199">
                  <c:v>40372</c:v>
                </c:pt>
                <c:pt idx="200">
                  <c:v>40373</c:v>
                </c:pt>
                <c:pt idx="201">
                  <c:v>40374</c:v>
                </c:pt>
                <c:pt idx="202">
                  <c:v>40375</c:v>
                </c:pt>
                <c:pt idx="203">
                  <c:v>40378</c:v>
                </c:pt>
                <c:pt idx="204">
                  <c:v>40379</c:v>
                </c:pt>
                <c:pt idx="205">
                  <c:v>40380</c:v>
                </c:pt>
                <c:pt idx="206">
                  <c:v>40381</c:v>
                </c:pt>
                <c:pt idx="207">
                  <c:v>40382</c:v>
                </c:pt>
                <c:pt idx="208">
                  <c:v>40385</c:v>
                </c:pt>
                <c:pt idx="209">
                  <c:v>40386</c:v>
                </c:pt>
                <c:pt idx="210">
                  <c:v>40387</c:v>
                </c:pt>
                <c:pt idx="211">
                  <c:v>40388</c:v>
                </c:pt>
                <c:pt idx="212">
                  <c:v>40389</c:v>
                </c:pt>
                <c:pt idx="213">
                  <c:v>40392</c:v>
                </c:pt>
                <c:pt idx="214">
                  <c:v>40393</c:v>
                </c:pt>
                <c:pt idx="215">
                  <c:v>40394</c:v>
                </c:pt>
                <c:pt idx="216">
                  <c:v>40395</c:v>
                </c:pt>
                <c:pt idx="217">
                  <c:v>40396</c:v>
                </c:pt>
                <c:pt idx="218">
                  <c:v>40399</c:v>
                </c:pt>
                <c:pt idx="219">
                  <c:v>40400</c:v>
                </c:pt>
                <c:pt idx="220">
                  <c:v>40401</c:v>
                </c:pt>
                <c:pt idx="221">
                  <c:v>40402</c:v>
                </c:pt>
                <c:pt idx="222">
                  <c:v>40403</c:v>
                </c:pt>
                <c:pt idx="223">
                  <c:v>40406</c:v>
                </c:pt>
                <c:pt idx="224">
                  <c:v>40407</c:v>
                </c:pt>
                <c:pt idx="225">
                  <c:v>40408</c:v>
                </c:pt>
                <c:pt idx="226">
                  <c:v>40409</c:v>
                </c:pt>
                <c:pt idx="227">
                  <c:v>40410</c:v>
                </c:pt>
                <c:pt idx="228">
                  <c:v>40413</c:v>
                </c:pt>
                <c:pt idx="229">
                  <c:v>40414</c:v>
                </c:pt>
                <c:pt idx="230">
                  <c:v>40415</c:v>
                </c:pt>
                <c:pt idx="231">
                  <c:v>40416</c:v>
                </c:pt>
                <c:pt idx="232">
                  <c:v>40417</c:v>
                </c:pt>
                <c:pt idx="233">
                  <c:v>40420</c:v>
                </c:pt>
                <c:pt idx="234">
                  <c:v>40421</c:v>
                </c:pt>
                <c:pt idx="235">
                  <c:v>40422</c:v>
                </c:pt>
                <c:pt idx="236">
                  <c:v>40423</c:v>
                </c:pt>
                <c:pt idx="237">
                  <c:v>40424</c:v>
                </c:pt>
                <c:pt idx="238">
                  <c:v>40427</c:v>
                </c:pt>
                <c:pt idx="239">
                  <c:v>40428</c:v>
                </c:pt>
                <c:pt idx="240">
                  <c:v>40429</c:v>
                </c:pt>
                <c:pt idx="241">
                  <c:v>40430</c:v>
                </c:pt>
                <c:pt idx="242">
                  <c:v>40431</c:v>
                </c:pt>
                <c:pt idx="243">
                  <c:v>40434</c:v>
                </c:pt>
                <c:pt idx="244">
                  <c:v>40435</c:v>
                </c:pt>
                <c:pt idx="245">
                  <c:v>40436</c:v>
                </c:pt>
                <c:pt idx="246">
                  <c:v>40437</c:v>
                </c:pt>
                <c:pt idx="247">
                  <c:v>40438</c:v>
                </c:pt>
                <c:pt idx="248">
                  <c:v>40441</c:v>
                </c:pt>
                <c:pt idx="249">
                  <c:v>40442</c:v>
                </c:pt>
                <c:pt idx="250">
                  <c:v>40443</c:v>
                </c:pt>
                <c:pt idx="251">
                  <c:v>40444</c:v>
                </c:pt>
                <c:pt idx="252">
                  <c:v>40445</c:v>
                </c:pt>
                <c:pt idx="253">
                  <c:v>40448</c:v>
                </c:pt>
                <c:pt idx="254">
                  <c:v>40449</c:v>
                </c:pt>
                <c:pt idx="255">
                  <c:v>40450</c:v>
                </c:pt>
                <c:pt idx="256">
                  <c:v>40451</c:v>
                </c:pt>
                <c:pt idx="257">
                  <c:v>40452</c:v>
                </c:pt>
                <c:pt idx="258">
                  <c:v>40455</c:v>
                </c:pt>
                <c:pt idx="259">
                  <c:v>40456</c:v>
                </c:pt>
                <c:pt idx="260">
                  <c:v>40457</c:v>
                </c:pt>
                <c:pt idx="261">
                  <c:v>40458</c:v>
                </c:pt>
                <c:pt idx="262">
                  <c:v>40459</c:v>
                </c:pt>
                <c:pt idx="263">
                  <c:v>40462</c:v>
                </c:pt>
                <c:pt idx="264">
                  <c:v>40463</c:v>
                </c:pt>
                <c:pt idx="265">
                  <c:v>40464</c:v>
                </c:pt>
                <c:pt idx="266">
                  <c:v>40465</c:v>
                </c:pt>
                <c:pt idx="267">
                  <c:v>40466</c:v>
                </c:pt>
                <c:pt idx="268">
                  <c:v>40469</c:v>
                </c:pt>
                <c:pt idx="269">
                  <c:v>40470</c:v>
                </c:pt>
                <c:pt idx="270">
                  <c:v>40471</c:v>
                </c:pt>
                <c:pt idx="271">
                  <c:v>40472</c:v>
                </c:pt>
                <c:pt idx="272">
                  <c:v>40473</c:v>
                </c:pt>
                <c:pt idx="273">
                  <c:v>40476</c:v>
                </c:pt>
                <c:pt idx="274">
                  <c:v>40477</c:v>
                </c:pt>
                <c:pt idx="275">
                  <c:v>40478</c:v>
                </c:pt>
                <c:pt idx="276">
                  <c:v>40479</c:v>
                </c:pt>
                <c:pt idx="277">
                  <c:v>40480</c:v>
                </c:pt>
                <c:pt idx="278">
                  <c:v>40483</c:v>
                </c:pt>
                <c:pt idx="279">
                  <c:v>40484</c:v>
                </c:pt>
                <c:pt idx="280">
                  <c:v>40485</c:v>
                </c:pt>
                <c:pt idx="281">
                  <c:v>40486</c:v>
                </c:pt>
                <c:pt idx="282">
                  <c:v>40487</c:v>
                </c:pt>
                <c:pt idx="283">
                  <c:v>40490</c:v>
                </c:pt>
                <c:pt idx="284">
                  <c:v>40491</c:v>
                </c:pt>
                <c:pt idx="285">
                  <c:v>40492</c:v>
                </c:pt>
                <c:pt idx="286">
                  <c:v>40493</c:v>
                </c:pt>
                <c:pt idx="287">
                  <c:v>40494</c:v>
                </c:pt>
                <c:pt idx="288">
                  <c:v>40497</c:v>
                </c:pt>
                <c:pt idx="289">
                  <c:v>40498</c:v>
                </c:pt>
                <c:pt idx="290">
                  <c:v>40499</c:v>
                </c:pt>
                <c:pt idx="291">
                  <c:v>40500</c:v>
                </c:pt>
                <c:pt idx="292">
                  <c:v>40501</c:v>
                </c:pt>
                <c:pt idx="293">
                  <c:v>40504</c:v>
                </c:pt>
                <c:pt idx="294">
                  <c:v>40505</c:v>
                </c:pt>
                <c:pt idx="295">
                  <c:v>40506</c:v>
                </c:pt>
                <c:pt idx="296">
                  <c:v>40507</c:v>
                </c:pt>
                <c:pt idx="297">
                  <c:v>40508</c:v>
                </c:pt>
                <c:pt idx="298">
                  <c:v>40511</c:v>
                </c:pt>
                <c:pt idx="299">
                  <c:v>40512</c:v>
                </c:pt>
                <c:pt idx="300">
                  <c:v>40513</c:v>
                </c:pt>
                <c:pt idx="301">
                  <c:v>40514</c:v>
                </c:pt>
                <c:pt idx="302">
                  <c:v>40515</c:v>
                </c:pt>
                <c:pt idx="303">
                  <c:v>40518</c:v>
                </c:pt>
                <c:pt idx="304">
                  <c:v>40519</c:v>
                </c:pt>
                <c:pt idx="305">
                  <c:v>40520</c:v>
                </c:pt>
                <c:pt idx="306">
                  <c:v>40521</c:v>
                </c:pt>
                <c:pt idx="307">
                  <c:v>40522</c:v>
                </c:pt>
                <c:pt idx="308">
                  <c:v>40525</c:v>
                </c:pt>
                <c:pt idx="309">
                  <c:v>40526</c:v>
                </c:pt>
                <c:pt idx="310">
                  <c:v>40527</c:v>
                </c:pt>
                <c:pt idx="311">
                  <c:v>40528</c:v>
                </c:pt>
                <c:pt idx="312">
                  <c:v>40529</c:v>
                </c:pt>
                <c:pt idx="313">
                  <c:v>40532</c:v>
                </c:pt>
                <c:pt idx="314">
                  <c:v>40533</c:v>
                </c:pt>
                <c:pt idx="315">
                  <c:v>40534</c:v>
                </c:pt>
                <c:pt idx="316">
                  <c:v>40535</c:v>
                </c:pt>
                <c:pt idx="317">
                  <c:v>40536</c:v>
                </c:pt>
                <c:pt idx="318">
                  <c:v>40539</c:v>
                </c:pt>
                <c:pt idx="319">
                  <c:v>40540</c:v>
                </c:pt>
                <c:pt idx="320">
                  <c:v>40541</c:v>
                </c:pt>
                <c:pt idx="321">
                  <c:v>40542</c:v>
                </c:pt>
                <c:pt idx="322">
                  <c:v>40543</c:v>
                </c:pt>
                <c:pt idx="323">
                  <c:v>40546</c:v>
                </c:pt>
                <c:pt idx="324">
                  <c:v>40547</c:v>
                </c:pt>
                <c:pt idx="325">
                  <c:v>40548</c:v>
                </c:pt>
                <c:pt idx="326">
                  <c:v>40549</c:v>
                </c:pt>
                <c:pt idx="327">
                  <c:v>40550</c:v>
                </c:pt>
                <c:pt idx="328">
                  <c:v>40553</c:v>
                </c:pt>
                <c:pt idx="329">
                  <c:v>40554</c:v>
                </c:pt>
                <c:pt idx="330">
                  <c:v>40555</c:v>
                </c:pt>
                <c:pt idx="331">
                  <c:v>40556</c:v>
                </c:pt>
                <c:pt idx="332">
                  <c:v>40557</c:v>
                </c:pt>
                <c:pt idx="333">
                  <c:v>40560</c:v>
                </c:pt>
                <c:pt idx="334">
                  <c:v>40561</c:v>
                </c:pt>
                <c:pt idx="335">
                  <c:v>40562</c:v>
                </c:pt>
                <c:pt idx="336">
                  <c:v>40563</c:v>
                </c:pt>
                <c:pt idx="337">
                  <c:v>40564</c:v>
                </c:pt>
                <c:pt idx="338">
                  <c:v>40567</c:v>
                </c:pt>
                <c:pt idx="339">
                  <c:v>40568</c:v>
                </c:pt>
                <c:pt idx="340">
                  <c:v>40569</c:v>
                </c:pt>
                <c:pt idx="341">
                  <c:v>40570</c:v>
                </c:pt>
                <c:pt idx="342">
                  <c:v>40571</c:v>
                </c:pt>
                <c:pt idx="343">
                  <c:v>40574</c:v>
                </c:pt>
                <c:pt idx="344">
                  <c:v>40575</c:v>
                </c:pt>
                <c:pt idx="345">
                  <c:v>40576</c:v>
                </c:pt>
                <c:pt idx="346">
                  <c:v>40577</c:v>
                </c:pt>
                <c:pt idx="347">
                  <c:v>40578</c:v>
                </c:pt>
                <c:pt idx="348">
                  <c:v>40581</c:v>
                </c:pt>
                <c:pt idx="349">
                  <c:v>40582</c:v>
                </c:pt>
                <c:pt idx="350">
                  <c:v>40583</c:v>
                </c:pt>
                <c:pt idx="351">
                  <c:v>40584</c:v>
                </c:pt>
                <c:pt idx="352">
                  <c:v>40585</c:v>
                </c:pt>
                <c:pt idx="353">
                  <c:v>40588</c:v>
                </c:pt>
                <c:pt idx="354">
                  <c:v>40589</c:v>
                </c:pt>
                <c:pt idx="355">
                  <c:v>40590</c:v>
                </c:pt>
                <c:pt idx="356">
                  <c:v>40591</c:v>
                </c:pt>
                <c:pt idx="357">
                  <c:v>40592</c:v>
                </c:pt>
                <c:pt idx="358">
                  <c:v>40595</c:v>
                </c:pt>
                <c:pt idx="359">
                  <c:v>40596</c:v>
                </c:pt>
                <c:pt idx="360">
                  <c:v>40597</c:v>
                </c:pt>
                <c:pt idx="361">
                  <c:v>40598</c:v>
                </c:pt>
                <c:pt idx="362">
                  <c:v>40599</c:v>
                </c:pt>
                <c:pt idx="363">
                  <c:v>40602</c:v>
                </c:pt>
                <c:pt idx="364">
                  <c:v>40603</c:v>
                </c:pt>
                <c:pt idx="365">
                  <c:v>40604</c:v>
                </c:pt>
                <c:pt idx="366">
                  <c:v>40605</c:v>
                </c:pt>
                <c:pt idx="367">
                  <c:v>40606</c:v>
                </c:pt>
                <c:pt idx="368">
                  <c:v>40609</c:v>
                </c:pt>
                <c:pt idx="369">
                  <c:v>40610</c:v>
                </c:pt>
                <c:pt idx="370">
                  <c:v>40611</c:v>
                </c:pt>
                <c:pt idx="371">
                  <c:v>40612</c:v>
                </c:pt>
                <c:pt idx="372">
                  <c:v>40613</c:v>
                </c:pt>
                <c:pt idx="373">
                  <c:v>40616</c:v>
                </c:pt>
                <c:pt idx="374">
                  <c:v>40617</c:v>
                </c:pt>
                <c:pt idx="375">
                  <c:v>40618</c:v>
                </c:pt>
                <c:pt idx="376">
                  <c:v>40619</c:v>
                </c:pt>
                <c:pt idx="377">
                  <c:v>40620</c:v>
                </c:pt>
                <c:pt idx="378">
                  <c:v>40623</c:v>
                </c:pt>
                <c:pt idx="379">
                  <c:v>40624</c:v>
                </c:pt>
                <c:pt idx="380">
                  <c:v>40625</c:v>
                </c:pt>
                <c:pt idx="381">
                  <c:v>40626</c:v>
                </c:pt>
                <c:pt idx="382">
                  <c:v>40627</c:v>
                </c:pt>
                <c:pt idx="383">
                  <c:v>40630</c:v>
                </c:pt>
                <c:pt idx="384">
                  <c:v>40631</c:v>
                </c:pt>
                <c:pt idx="385">
                  <c:v>40632</c:v>
                </c:pt>
                <c:pt idx="386">
                  <c:v>40633</c:v>
                </c:pt>
                <c:pt idx="387">
                  <c:v>40634</c:v>
                </c:pt>
                <c:pt idx="388">
                  <c:v>40637</c:v>
                </c:pt>
                <c:pt idx="389">
                  <c:v>40638</c:v>
                </c:pt>
                <c:pt idx="390">
                  <c:v>40639</c:v>
                </c:pt>
                <c:pt idx="391">
                  <c:v>40640</c:v>
                </c:pt>
                <c:pt idx="392">
                  <c:v>40641</c:v>
                </c:pt>
                <c:pt idx="393">
                  <c:v>40644</c:v>
                </c:pt>
                <c:pt idx="394">
                  <c:v>40645</c:v>
                </c:pt>
                <c:pt idx="395">
                  <c:v>40646</c:v>
                </c:pt>
                <c:pt idx="396">
                  <c:v>40647</c:v>
                </c:pt>
                <c:pt idx="397">
                  <c:v>40648</c:v>
                </c:pt>
                <c:pt idx="398">
                  <c:v>40651</c:v>
                </c:pt>
                <c:pt idx="399">
                  <c:v>40652</c:v>
                </c:pt>
                <c:pt idx="400">
                  <c:v>40653</c:v>
                </c:pt>
                <c:pt idx="401">
                  <c:v>40654</c:v>
                </c:pt>
                <c:pt idx="402">
                  <c:v>40659</c:v>
                </c:pt>
                <c:pt idx="403">
                  <c:v>40660</c:v>
                </c:pt>
                <c:pt idx="404">
                  <c:v>40661</c:v>
                </c:pt>
                <c:pt idx="405">
                  <c:v>40662</c:v>
                </c:pt>
                <c:pt idx="406">
                  <c:v>40665</c:v>
                </c:pt>
                <c:pt idx="407">
                  <c:v>40666</c:v>
                </c:pt>
                <c:pt idx="408">
                  <c:v>40667</c:v>
                </c:pt>
                <c:pt idx="409">
                  <c:v>40668</c:v>
                </c:pt>
                <c:pt idx="410">
                  <c:v>40669</c:v>
                </c:pt>
                <c:pt idx="411">
                  <c:v>40672</c:v>
                </c:pt>
                <c:pt idx="412">
                  <c:v>40673</c:v>
                </c:pt>
                <c:pt idx="413">
                  <c:v>40674</c:v>
                </c:pt>
                <c:pt idx="414">
                  <c:v>40675</c:v>
                </c:pt>
                <c:pt idx="415">
                  <c:v>40676</c:v>
                </c:pt>
                <c:pt idx="416">
                  <c:v>40679</c:v>
                </c:pt>
                <c:pt idx="417">
                  <c:v>40680</c:v>
                </c:pt>
                <c:pt idx="418">
                  <c:v>40681</c:v>
                </c:pt>
                <c:pt idx="419">
                  <c:v>40682</c:v>
                </c:pt>
                <c:pt idx="420">
                  <c:v>40683</c:v>
                </c:pt>
                <c:pt idx="421">
                  <c:v>40686</c:v>
                </c:pt>
                <c:pt idx="422">
                  <c:v>40687</c:v>
                </c:pt>
                <c:pt idx="423">
                  <c:v>40688</c:v>
                </c:pt>
                <c:pt idx="424">
                  <c:v>40689</c:v>
                </c:pt>
                <c:pt idx="425">
                  <c:v>40690</c:v>
                </c:pt>
                <c:pt idx="426">
                  <c:v>40693</c:v>
                </c:pt>
                <c:pt idx="427">
                  <c:v>40694</c:v>
                </c:pt>
                <c:pt idx="428">
                  <c:v>40695</c:v>
                </c:pt>
                <c:pt idx="429">
                  <c:v>40696</c:v>
                </c:pt>
                <c:pt idx="430">
                  <c:v>40697</c:v>
                </c:pt>
                <c:pt idx="431">
                  <c:v>40700</c:v>
                </c:pt>
                <c:pt idx="432">
                  <c:v>40701</c:v>
                </c:pt>
                <c:pt idx="433">
                  <c:v>40702</c:v>
                </c:pt>
                <c:pt idx="434">
                  <c:v>40703</c:v>
                </c:pt>
                <c:pt idx="435">
                  <c:v>40704</c:v>
                </c:pt>
                <c:pt idx="436">
                  <c:v>40707</c:v>
                </c:pt>
                <c:pt idx="437">
                  <c:v>40708</c:v>
                </c:pt>
                <c:pt idx="438">
                  <c:v>40709</c:v>
                </c:pt>
                <c:pt idx="439">
                  <c:v>40710</c:v>
                </c:pt>
                <c:pt idx="440">
                  <c:v>40711</c:v>
                </c:pt>
                <c:pt idx="441">
                  <c:v>40714</c:v>
                </c:pt>
                <c:pt idx="442">
                  <c:v>40715</c:v>
                </c:pt>
                <c:pt idx="443">
                  <c:v>40716</c:v>
                </c:pt>
                <c:pt idx="444">
                  <c:v>40717</c:v>
                </c:pt>
                <c:pt idx="445">
                  <c:v>40718</c:v>
                </c:pt>
                <c:pt idx="446">
                  <c:v>40721</c:v>
                </c:pt>
                <c:pt idx="447">
                  <c:v>40722</c:v>
                </c:pt>
                <c:pt idx="448">
                  <c:v>40723</c:v>
                </c:pt>
                <c:pt idx="449">
                  <c:v>40724</c:v>
                </c:pt>
                <c:pt idx="450">
                  <c:v>40725</c:v>
                </c:pt>
                <c:pt idx="451">
                  <c:v>40728</c:v>
                </c:pt>
                <c:pt idx="452">
                  <c:v>40729</c:v>
                </c:pt>
                <c:pt idx="453">
                  <c:v>40730</c:v>
                </c:pt>
                <c:pt idx="454">
                  <c:v>40731</c:v>
                </c:pt>
                <c:pt idx="455">
                  <c:v>40732</c:v>
                </c:pt>
                <c:pt idx="456">
                  <c:v>40735</c:v>
                </c:pt>
                <c:pt idx="457">
                  <c:v>40736</c:v>
                </c:pt>
                <c:pt idx="458">
                  <c:v>40737</c:v>
                </c:pt>
                <c:pt idx="459">
                  <c:v>40738</c:v>
                </c:pt>
                <c:pt idx="460">
                  <c:v>40739</c:v>
                </c:pt>
                <c:pt idx="461">
                  <c:v>40742</c:v>
                </c:pt>
                <c:pt idx="462">
                  <c:v>40743</c:v>
                </c:pt>
                <c:pt idx="463">
                  <c:v>40744</c:v>
                </c:pt>
                <c:pt idx="464">
                  <c:v>40745</c:v>
                </c:pt>
                <c:pt idx="465">
                  <c:v>40746</c:v>
                </c:pt>
                <c:pt idx="466">
                  <c:v>40749</c:v>
                </c:pt>
                <c:pt idx="467">
                  <c:v>40750</c:v>
                </c:pt>
                <c:pt idx="468">
                  <c:v>40751</c:v>
                </c:pt>
                <c:pt idx="469">
                  <c:v>40752</c:v>
                </c:pt>
                <c:pt idx="470">
                  <c:v>40753</c:v>
                </c:pt>
                <c:pt idx="471">
                  <c:v>40756</c:v>
                </c:pt>
                <c:pt idx="472">
                  <c:v>40757</c:v>
                </c:pt>
                <c:pt idx="473">
                  <c:v>40758</c:v>
                </c:pt>
                <c:pt idx="474">
                  <c:v>40759</c:v>
                </c:pt>
                <c:pt idx="475">
                  <c:v>40760</c:v>
                </c:pt>
                <c:pt idx="476">
                  <c:v>40763</c:v>
                </c:pt>
                <c:pt idx="477">
                  <c:v>40764</c:v>
                </c:pt>
                <c:pt idx="478">
                  <c:v>40765</c:v>
                </c:pt>
                <c:pt idx="479">
                  <c:v>40766</c:v>
                </c:pt>
                <c:pt idx="480">
                  <c:v>40767</c:v>
                </c:pt>
                <c:pt idx="481">
                  <c:v>40770</c:v>
                </c:pt>
                <c:pt idx="482">
                  <c:v>40771</c:v>
                </c:pt>
                <c:pt idx="483">
                  <c:v>40772</c:v>
                </c:pt>
                <c:pt idx="484">
                  <c:v>40773</c:v>
                </c:pt>
                <c:pt idx="485">
                  <c:v>40774</c:v>
                </c:pt>
                <c:pt idx="486">
                  <c:v>40777</c:v>
                </c:pt>
                <c:pt idx="487">
                  <c:v>40778</c:v>
                </c:pt>
                <c:pt idx="488">
                  <c:v>40779</c:v>
                </c:pt>
                <c:pt idx="489">
                  <c:v>40780</c:v>
                </c:pt>
                <c:pt idx="490">
                  <c:v>40781</c:v>
                </c:pt>
                <c:pt idx="491">
                  <c:v>40784</c:v>
                </c:pt>
                <c:pt idx="492">
                  <c:v>40785</c:v>
                </c:pt>
                <c:pt idx="493">
                  <c:v>40786</c:v>
                </c:pt>
                <c:pt idx="494">
                  <c:v>40787</c:v>
                </c:pt>
                <c:pt idx="495">
                  <c:v>40788</c:v>
                </c:pt>
                <c:pt idx="496">
                  <c:v>40791</c:v>
                </c:pt>
                <c:pt idx="497">
                  <c:v>40792</c:v>
                </c:pt>
                <c:pt idx="498">
                  <c:v>40793</c:v>
                </c:pt>
                <c:pt idx="499">
                  <c:v>40794</c:v>
                </c:pt>
                <c:pt idx="500">
                  <c:v>40795</c:v>
                </c:pt>
                <c:pt idx="501">
                  <c:v>40798</c:v>
                </c:pt>
                <c:pt idx="502">
                  <c:v>40799</c:v>
                </c:pt>
                <c:pt idx="503">
                  <c:v>40800</c:v>
                </c:pt>
                <c:pt idx="504">
                  <c:v>40801</c:v>
                </c:pt>
                <c:pt idx="505">
                  <c:v>40802</c:v>
                </c:pt>
                <c:pt idx="506">
                  <c:v>40805</c:v>
                </c:pt>
                <c:pt idx="507">
                  <c:v>40806</c:v>
                </c:pt>
                <c:pt idx="508">
                  <c:v>40807</c:v>
                </c:pt>
                <c:pt idx="509">
                  <c:v>40808</c:v>
                </c:pt>
                <c:pt idx="510">
                  <c:v>40809</c:v>
                </c:pt>
                <c:pt idx="511">
                  <c:v>40812</c:v>
                </c:pt>
                <c:pt idx="512">
                  <c:v>40813</c:v>
                </c:pt>
                <c:pt idx="513">
                  <c:v>40814</c:v>
                </c:pt>
                <c:pt idx="514">
                  <c:v>40815</c:v>
                </c:pt>
                <c:pt idx="515">
                  <c:v>40816</c:v>
                </c:pt>
                <c:pt idx="516">
                  <c:v>40819</c:v>
                </c:pt>
                <c:pt idx="517">
                  <c:v>40820</c:v>
                </c:pt>
                <c:pt idx="518">
                  <c:v>40821</c:v>
                </c:pt>
                <c:pt idx="519">
                  <c:v>40822</c:v>
                </c:pt>
                <c:pt idx="520">
                  <c:v>40823</c:v>
                </c:pt>
                <c:pt idx="521">
                  <c:v>40826</c:v>
                </c:pt>
                <c:pt idx="522">
                  <c:v>40827</c:v>
                </c:pt>
                <c:pt idx="523">
                  <c:v>40828</c:v>
                </c:pt>
                <c:pt idx="524">
                  <c:v>40829</c:v>
                </c:pt>
                <c:pt idx="525">
                  <c:v>40830</c:v>
                </c:pt>
                <c:pt idx="526">
                  <c:v>40833</c:v>
                </c:pt>
                <c:pt idx="527">
                  <c:v>40834</c:v>
                </c:pt>
                <c:pt idx="528">
                  <c:v>40835</c:v>
                </c:pt>
                <c:pt idx="529">
                  <c:v>40836</c:v>
                </c:pt>
                <c:pt idx="530">
                  <c:v>40837</c:v>
                </c:pt>
                <c:pt idx="531">
                  <c:v>40840</c:v>
                </c:pt>
                <c:pt idx="532">
                  <c:v>40841</c:v>
                </c:pt>
                <c:pt idx="533">
                  <c:v>40842</c:v>
                </c:pt>
                <c:pt idx="534">
                  <c:v>40843</c:v>
                </c:pt>
                <c:pt idx="535">
                  <c:v>40844</c:v>
                </c:pt>
                <c:pt idx="536">
                  <c:v>40847</c:v>
                </c:pt>
                <c:pt idx="537">
                  <c:v>40848</c:v>
                </c:pt>
                <c:pt idx="538">
                  <c:v>40849</c:v>
                </c:pt>
                <c:pt idx="539">
                  <c:v>40850</c:v>
                </c:pt>
                <c:pt idx="540">
                  <c:v>40851</c:v>
                </c:pt>
                <c:pt idx="541">
                  <c:v>40854</c:v>
                </c:pt>
                <c:pt idx="542">
                  <c:v>40855</c:v>
                </c:pt>
                <c:pt idx="543">
                  <c:v>40856</c:v>
                </c:pt>
                <c:pt idx="544">
                  <c:v>40857</c:v>
                </c:pt>
                <c:pt idx="545">
                  <c:v>40858</c:v>
                </c:pt>
                <c:pt idx="546">
                  <c:v>40861</c:v>
                </c:pt>
                <c:pt idx="547">
                  <c:v>40862</c:v>
                </c:pt>
                <c:pt idx="548">
                  <c:v>40863</c:v>
                </c:pt>
                <c:pt idx="549">
                  <c:v>40864</c:v>
                </c:pt>
                <c:pt idx="550">
                  <c:v>40865</c:v>
                </c:pt>
                <c:pt idx="551">
                  <c:v>40868</c:v>
                </c:pt>
                <c:pt idx="552">
                  <c:v>40869</c:v>
                </c:pt>
                <c:pt idx="553">
                  <c:v>40870</c:v>
                </c:pt>
                <c:pt idx="554">
                  <c:v>40871</c:v>
                </c:pt>
                <c:pt idx="555">
                  <c:v>40872</c:v>
                </c:pt>
                <c:pt idx="556">
                  <c:v>40875</c:v>
                </c:pt>
                <c:pt idx="557">
                  <c:v>40876</c:v>
                </c:pt>
                <c:pt idx="558">
                  <c:v>40877</c:v>
                </c:pt>
                <c:pt idx="559">
                  <c:v>40878</c:v>
                </c:pt>
                <c:pt idx="560">
                  <c:v>40879</c:v>
                </c:pt>
                <c:pt idx="561">
                  <c:v>40882</c:v>
                </c:pt>
                <c:pt idx="562">
                  <c:v>40883</c:v>
                </c:pt>
                <c:pt idx="563">
                  <c:v>40884</c:v>
                </c:pt>
                <c:pt idx="564">
                  <c:v>40885</c:v>
                </c:pt>
                <c:pt idx="565">
                  <c:v>40886</c:v>
                </c:pt>
                <c:pt idx="566">
                  <c:v>40889</c:v>
                </c:pt>
                <c:pt idx="567">
                  <c:v>40890</c:v>
                </c:pt>
                <c:pt idx="568">
                  <c:v>40891</c:v>
                </c:pt>
                <c:pt idx="569">
                  <c:v>40892</c:v>
                </c:pt>
                <c:pt idx="570">
                  <c:v>40893</c:v>
                </c:pt>
                <c:pt idx="571">
                  <c:v>40896</c:v>
                </c:pt>
                <c:pt idx="572">
                  <c:v>40897</c:v>
                </c:pt>
                <c:pt idx="573">
                  <c:v>40898</c:v>
                </c:pt>
                <c:pt idx="574">
                  <c:v>40899</c:v>
                </c:pt>
                <c:pt idx="575">
                  <c:v>40900</c:v>
                </c:pt>
                <c:pt idx="576">
                  <c:v>40904</c:v>
                </c:pt>
                <c:pt idx="577">
                  <c:v>40905</c:v>
                </c:pt>
                <c:pt idx="578">
                  <c:v>40906</c:v>
                </c:pt>
                <c:pt idx="579">
                  <c:v>40907</c:v>
                </c:pt>
                <c:pt idx="580">
                  <c:v>40910</c:v>
                </c:pt>
                <c:pt idx="581">
                  <c:v>40911</c:v>
                </c:pt>
                <c:pt idx="582">
                  <c:v>40912</c:v>
                </c:pt>
                <c:pt idx="583">
                  <c:v>40913</c:v>
                </c:pt>
                <c:pt idx="584">
                  <c:v>40914</c:v>
                </c:pt>
                <c:pt idx="585">
                  <c:v>40917</c:v>
                </c:pt>
                <c:pt idx="586">
                  <c:v>40918</c:v>
                </c:pt>
                <c:pt idx="587">
                  <c:v>40919</c:v>
                </c:pt>
                <c:pt idx="588">
                  <c:v>40920</c:v>
                </c:pt>
                <c:pt idx="589">
                  <c:v>40921</c:v>
                </c:pt>
                <c:pt idx="590">
                  <c:v>40924</c:v>
                </c:pt>
                <c:pt idx="591">
                  <c:v>40925</c:v>
                </c:pt>
                <c:pt idx="592">
                  <c:v>40926</c:v>
                </c:pt>
                <c:pt idx="593">
                  <c:v>40927</c:v>
                </c:pt>
                <c:pt idx="594">
                  <c:v>40928</c:v>
                </c:pt>
                <c:pt idx="595">
                  <c:v>40931</c:v>
                </c:pt>
                <c:pt idx="596">
                  <c:v>40932</c:v>
                </c:pt>
                <c:pt idx="597">
                  <c:v>40933</c:v>
                </c:pt>
                <c:pt idx="598">
                  <c:v>40934</c:v>
                </c:pt>
                <c:pt idx="599">
                  <c:v>40935</c:v>
                </c:pt>
                <c:pt idx="600">
                  <c:v>40938</c:v>
                </c:pt>
                <c:pt idx="601">
                  <c:v>40939</c:v>
                </c:pt>
                <c:pt idx="602">
                  <c:v>40940</c:v>
                </c:pt>
                <c:pt idx="603">
                  <c:v>40941</c:v>
                </c:pt>
                <c:pt idx="604">
                  <c:v>40942</c:v>
                </c:pt>
                <c:pt idx="605">
                  <c:v>40945</c:v>
                </c:pt>
                <c:pt idx="606">
                  <c:v>40946</c:v>
                </c:pt>
                <c:pt idx="607">
                  <c:v>40947</c:v>
                </c:pt>
                <c:pt idx="608">
                  <c:v>40948</c:v>
                </c:pt>
                <c:pt idx="609">
                  <c:v>40949</c:v>
                </c:pt>
                <c:pt idx="610">
                  <c:v>40952</c:v>
                </c:pt>
                <c:pt idx="611">
                  <c:v>40953</c:v>
                </c:pt>
                <c:pt idx="612">
                  <c:v>40954</c:v>
                </c:pt>
                <c:pt idx="613">
                  <c:v>40955</c:v>
                </c:pt>
                <c:pt idx="614">
                  <c:v>40956</c:v>
                </c:pt>
                <c:pt idx="615">
                  <c:v>40959</c:v>
                </c:pt>
                <c:pt idx="616">
                  <c:v>40960</c:v>
                </c:pt>
                <c:pt idx="617">
                  <c:v>40961</c:v>
                </c:pt>
                <c:pt idx="618">
                  <c:v>40962</c:v>
                </c:pt>
                <c:pt idx="619">
                  <c:v>40963</c:v>
                </c:pt>
                <c:pt idx="620">
                  <c:v>40966</c:v>
                </c:pt>
                <c:pt idx="621">
                  <c:v>40967</c:v>
                </c:pt>
                <c:pt idx="622">
                  <c:v>40968</c:v>
                </c:pt>
                <c:pt idx="623">
                  <c:v>40969</c:v>
                </c:pt>
                <c:pt idx="624">
                  <c:v>40970</c:v>
                </c:pt>
                <c:pt idx="625">
                  <c:v>40973</c:v>
                </c:pt>
                <c:pt idx="626">
                  <c:v>40974</c:v>
                </c:pt>
                <c:pt idx="627">
                  <c:v>40975</c:v>
                </c:pt>
                <c:pt idx="628">
                  <c:v>40976</c:v>
                </c:pt>
                <c:pt idx="629">
                  <c:v>40977</c:v>
                </c:pt>
                <c:pt idx="630">
                  <c:v>40980</c:v>
                </c:pt>
                <c:pt idx="631">
                  <c:v>40981</c:v>
                </c:pt>
                <c:pt idx="632">
                  <c:v>40982</c:v>
                </c:pt>
                <c:pt idx="633">
                  <c:v>40983</c:v>
                </c:pt>
                <c:pt idx="634">
                  <c:v>40984</c:v>
                </c:pt>
                <c:pt idx="635">
                  <c:v>40987</c:v>
                </c:pt>
                <c:pt idx="636">
                  <c:v>40988</c:v>
                </c:pt>
                <c:pt idx="637">
                  <c:v>40989</c:v>
                </c:pt>
                <c:pt idx="638">
                  <c:v>40990</c:v>
                </c:pt>
                <c:pt idx="639">
                  <c:v>40991</c:v>
                </c:pt>
                <c:pt idx="640">
                  <c:v>40994</c:v>
                </c:pt>
                <c:pt idx="641">
                  <c:v>40995</c:v>
                </c:pt>
                <c:pt idx="642">
                  <c:v>40996</c:v>
                </c:pt>
                <c:pt idx="643">
                  <c:v>40997</c:v>
                </c:pt>
                <c:pt idx="644">
                  <c:v>40998</c:v>
                </c:pt>
                <c:pt idx="645">
                  <c:v>41001</c:v>
                </c:pt>
                <c:pt idx="646">
                  <c:v>41002</c:v>
                </c:pt>
                <c:pt idx="647">
                  <c:v>41003</c:v>
                </c:pt>
                <c:pt idx="648">
                  <c:v>41004</c:v>
                </c:pt>
                <c:pt idx="649">
                  <c:v>41009</c:v>
                </c:pt>
                <c:pt idx="650">
                  <c:v>41010</c:v>
                </c:pt>
                <c:pt idx="651">
                  <c:v>41011</c:v>
                </c:pt>
                <c:pt idx="652">
                  <c:v>41012</c:v>
                </c:pt>
                <c:pt idx="653">
                  <c:v>41015</c:v>
                </c:pt>
                <c:pt idx="654">
                  <c:v>41016</c:v>
                </c:pt>
                <c:pt idx="655">
                  <c:v>41017</c:v>
                </c:pt>
                <c:pt idx="656">
                  <c:v>41018</c:v>
                </c:pt>
                <c:pt idx="657">
                  <c:v>41019</c:v>
                </c:pt>
                <c:pt idx="658">
                  <c:v>41022</c:v>
                </c:pt>
                <c:pt idx="659">
                  <c:v>41023</c:v>
                </c:pt>
                <c:pt idx="660">
                  <c:v>41024</c:v>
                </c:pt>
                <c:pt idx="661">
                  <c:v>41025</c:v>
                </c:pt>
                <c:pt idx="662">
                  <c:v>41026</c:v>
                </c:pt>
                <c:pt idx="663">
                  <c:v>41029</c:v>
                </c:pt>
                <c:pt idx="664">
                  <c:v>41030</c:v>
                </c:pt>
                <c:pt idx="665">
                  <c:v>41031</c:v>
                </c:pt>
                <c:pt idx="666">
                  <c:v>41032</c:v>
                </c:pt>
                <c:pt idx="667">
                  <c:v>41033</c:v>
                </c:pt>
                <c:pt idx="668">
                  <c:v>41036</c:v>
                </c:pt>
                <c:pt idx="669">
                  <c:v>41037</c:v>
                </c:pt>
                <c:pt idx="670">
                  <c:v>41038</c:v>
                </c:pt>
                <c:pt idx="671">
                  <c:v>41039</c:v>
                </c:pt>
                <c:pt idx="672">
                  <c:v>41040</c:v>
                </c:pt>
                <c:pt idx="673">
                  <c:v>41043</c:v>
                </c:pt>
                <c:pt idx="674">
                  <c:v>41044</c:v>
                </c:pt>
                <c:pt idx="675">
                  <c:v>41045</c:v>
                </c:pt>
                <c:pt idx="676">
                  <c:v>41046</c:v>
                </c:pt>
                <c:pt idx="677">
                  <c:v>41047</c:v>
                </c:pt>
                <c:pt idx="678">
                  <c:v>41050</c:v>
                </c:pt>
                <c:pt idx="679">
                  <c:v>41051</c:v>
                </c:pt>
                <c:pt idx="680">
                  <c:v>41052</c:v>
                </c:pt>
                <c:pt idx="681">
                  <c:v>41053</c:v>
                </c:pt>
                <c:pt idx="682">
                  <c:v>41054</c:v>
                </c:pt>
                <c:pt idx="683">
                  <c:v>41057</c:v>
                </c:pt>
                <c:pt idx="684">
                  <c:v>41058</c:v>
                </c:pt>
                <c:pt idx="685">
                  <c:v>41059</c:v>
                </c:pt>
                <c:pt idx="686">
                  <c:v>41060</c:v>
                </c:pt>
                <c:pt idx="687">
                  <c:v>41061</c:v>
                </c:pt>
                <c:pt idx="688">
                  <c:v>41064</c:v>
                </c:pt>
                <c:pt idx="689">
                  <c:v>41065</c:v>
                </c:pt>
                <c:pt idx="690">
                  <c:v>41066</c:v>
                </c:pt>
                <c:pt idx="691">
                  <c:v>41067</c:v>
                </c:pt>
                <c:pt idx="692">
                  <c:v>41068</c:v>
                </c:pt>
                <c:pt idx="693">
                  <c:v>41071</c:v>
                </c:pt>
                <c:pt idx="694">
                  <c:v>41072</c:v>
                </c:pt>
                <c:pt idx="695">
                  <c:v>41073</c:v>
                </c:pt>
                <c:pt idx="696">
                  <c:v>41074</c:v>
                </c:pt>
                <c:pt idx="697">
                  <c:v>41075</c:v>
                </c:pt>
                <c:pt idx="698">
                  <c:v>41078</c:v>
                </c:pt>
                <c:pt idx="699">
                  <c:v>41079</c:v>
                </c:pt>
                <c:pt idx="700">
                  <c:v>41080</c:v>
                </c:pt>
                <c:pt idx="701">
                  <c:v>41081</c:v>
                </c:pt>
                <c:pt idx="702">
                  <c:v>41082</c:v>
                </c:pt>
                <c:pt idx="703">
                  <c:v>41085</c:v>
                </c:pt>
                <c:pt idx="704">
                  <c:v>41086</c:v>
                </c:pt>
                <c:pt idx="705">
                  <c:v>41087</c:v>
                </c:pt>
                <c:pt idx="706">
                  <c:v>41088</c:v>
                </c:pt>
                <c:pt idx="707">
                  <c:v>41089</c:v>
                </c:pt>
                <c:pt idx="708">
                  <c:v>41092</c:v>
                </c:pt>
                <c:pt idx="709">
                  <c:v>41093</c:v>
                </c:pt>
                <c:pt idx="710">
                  <c:v>41094</c:v>
                </c:pt>
                <c:pt idx="711">
                  <c:v>41095</c:v>
                </c:pt>
                <c:pt idx="712">
                  <c:v>41096</c:v>
                </c:pt>
                <c:pt idx="713">
                  <c:v>41099</c:v>
                </c:pt>
                <c:pt idx="714">
                  <c:v>41100</c:v>
                </c:pt>
                <c:pt idx="715">
                  <c:v>41101</c:v>
                </c:pt>
                <c:pt idx="716">
                  <c:v>41102</c:v>
                </c:pt>
                <c:pt idx="717">
                  <c:v>41103</c:v>
                </c:pt>
                <c:pt idx="718">
                  <c:v>41106</c:v>
                </c:pt>
                <c:pt idx="719">
                  <c:v>41107</c:v>
                </c:pt>
                <c:pt idx="720">
                  <c:v>41108</c:v>
                </c:pt>
                <c:pt idx="721">
                  <c:v>41109</c:v>
                </c:pt>
                <c:pt idx="722">
                  <c:v>41110</c:v>
                </c:pt>
                <c:pt idx="723">
                  <c:v>41113</c:v>
                </c:pt>
                <c:pt idx="724">
                  <c:v>41114</c:v>
                </c:pt>
                <c:pt idx="725">
                  <c:v>41115</c:v>
                </c:pt>
                <c:pt idx="726">
                  <c:v>41116</c:v>
                </c:pt>
                <c:pt idx="727">
                  <c:v>41117</c:v>
                </c:pt>
                <c:pt idx="728">
                  <c:v>41120</c:v>
                </c:pt>
                <c:pt idx="729">
                  <c:v>41121</c:v>
                </c:pt>
                <c:pt idx="730">
                  <c:v>41122</c:v>
                </c:pt>
                <c:pt idx="731">
                  <c:v>41123</c:v>
                </c:pt>
                <c:pt idx="732">
                  <c:v>41124</c:v>
                </c:pt>
                <c:pt idx="733">
                  <c:v>41127</c:v>
                </c:pt>
                <c:pt idx="734">
                  <c:v>41128</c:v>
                </c:pt>
                <c:pt idx="735">
                  <c:v>41129</c:v>
                </c:pt>
                <c:pt idx="736">
                  <c:v>41130</c:v>
                </c:pt>
                <c:pt idx="737">
                  <c:v>41131</c:v>
                </c:pt>
                <c:pt idx="738">
                  <c:v>41134</c:v>
                </c:pt>
                <c:pt idx="739">
                  <c:v>41135</c:v>
                </c:pt>
                <c:pt idx="740">
                  <c:v>41136</c:v>
                </c:pt>
                <c:pt idx="741">
                  <c:v>41137</c:v>
                </c:pt>
                <c:pt idx="742">
                  <c:v>41138</c:v>
                </c:pt>
                <c:pt idx="743">
                  <c:v>41141</c:v>
                </c:pt>
                <c:pt idx="744">
                  <c:v>41142</c:v>
                </c:pt>
                <c:pt idx="745">
                  <c:v>41143</c:v>
                </c:pt>
                <c:pt idx="746">
                  <c:v>41144</c:v>
                </c:pt>
                <c:pt idx="747">
                  <c:v>41145</c:v>
                </c:pt>
                <c:pt idx="748">
                  <c:v>41148</c:v>
                </c:pt>
                <c:pt idx="749">
                  <c:v>41149</c:v>
                </c:pt>
                <c:pt idx="750">
                  <c:v>41150</c:v>
                </c:pt>
                <c:pt idx="751">
                  <c:v>41151</c:v>
                </c:pt>
                <c:pt idx="752">
                  <c:v>41152</c:v>
                </c:pt>
                <c:pt idx="753">
                  <c:v>41155</c:v>
                </c:pt>
                <c:pt idx="754">
                  <c:v>41156</c:v>
                </c:pt>
                <c:pt idx="755">
                  <c:v>41157</c:v>
                </c:pt>
                <c:pt idx="756">
                  <c:v>41158</c:v>
                </c:pt>
                <c:pt idx="757">
                  <c:v>41159</c:v>
                </c:pt>
                <c:pt idx="758">
                  <c:v>41162</c:v>
                </c:pt>
                <c:pt idx="759">
                  <c:v>41163</c:v>
                </c:pt>
                <c:pt idx="760">
                  <c:v>41164</c:v>
                </c:pt>
                <c:pt idx="761">
                  <c:v>41165</c:v>
                </c:pt>
                <c:pt idx="762">
                  <c:v>41166</c:v>
                </c:pt>
                <c:pt idx="763">
                  <c:v>41169</c:v>
                </c:pt>
                <c:pt idx="764">
                  <c:v>41170</c:v>
                </c:pt>
                <c:pt idx="765">
                  <c:v>41171</c:v>
                </c:pt>
                <c:pt idx="766">
                  <c:v>41172</c:v>
                </c:pt>
                <c:pt idx="767">
                  <c:v>41173</c:v>
                </c:pt>
                <c:pt idx="768">
                  <c:v>41176</c:v>
                </c:pt>
                <c:pt idx="769">
                  <c:v>41177</c:v>
                </c:pt>
                <c:pt idx="770">
                  <c:v>41178</c:v>
                </c:pt>
                <c:pt idx="771">
                  <c:v>41179</c:v>
                </c:pt>
                <c:pt idx="772">
                  <c:v>41180</c:v>
                </c:pt>
                <c:pt idx="773">
                  <c:v>41183</c:v>
                </c:pt>
                <c:pt idx="774">
                  <c:v>41184</c:v>
                </c:pt>
                <c:pt idx="775">
                  <c:v>41185</c:v>
                </c:pt>
                <c:pt idx="776">
                  <c:v>41186</c:v>
                </c:pt>
                <c:pt idx="777">
                  <c:v>41187</c:v>
                </c:pt>
                <c:pt idx="778">
                  <c:v>41190</c:v>
                </c:pt>
                <c:pt idx="779">
                  <c:v>41191</c:v>
                </c:pt>
                <c:pt idx="780">
                  <c:v>41192</c:v>
                </c:pt>
                <c:pt idx="781">
                  <c:v>41193</c:v>
                </c:pt>
                <c:pt idx="782">
                  <c:v>41194</c:v>
                </c:pt>
                <c:pt idx="783">
                  <c:v>41197</c:v>
                </c:pt>
                <c:pt idx="784">
                  <c:v>41198</c:v>
                </c:pt>
                <c:pt idx="785">
                  <c:v>41199</c:v>
                </c:pt>
                <c:pt idx="786">
                  <c:v>41200</c:v>
                </c:pt>
                <c:pt idx="787">
                  <c:v>41201</c:v>
                </c:pt>
                <c:pt idx="788">
                  <c:v>41204</c:v>
                </c:pt>
                <c:pt idx="789">
                  <c:v>41205</c:v>
                </c:pt>
                <c:pt idx="790">
                  <c:v>41206</c:v>
                </c:pt>
                <c:pt idx="791">
                  <c:v>41207</c:v>
                </c:pt>
                <c:pt idx="792">
                  <c:v>41208</c:v>
                </c:pt>
                <c:pt idx="793">
                  <c:v>41211</c:v>
                </c:pt>
                <c:pt idx="794">
                  <c:v>41212</c:v>
                </c:pt>
                <c:pt idx="795">
                  <c:v>41213</c:v>
                </c:pt>
                <c:pt idx="796">
                  <c:v>41214</c:v>
                </c:pt>
                <c:pt idx="797">
                  <c:v>41215</c:v>
                </c:pt>
                <c:pt idx="798">
                  <c:v>41218</c:v>
                </c:pt>
                <c:pt idx="799">
                  <c:v>41219</c:v>
                </c:pt>
                <c:pt idx="800">
                  <c:v>41220</c:v>
                </c:pt>
                <c:pt idx="801">
                  <c:v>41221</c:v>
                </c:pt>
                <c:pt idx="802">
                  <c:v>41222</c:v>
                </c:pt>
                <c:pt idx="803">
                  <c:v>41225</c:v>
                </c:pt>
                <c:pt idx="804">
                  <c:v>41226</c:v>
                </c:pt>
                <c:pt idx="805">
                  <c:v>41227</c:v>
                </c:pt>
                <c:pt idx="806">
                  <c:v>41228</c:v>
                </c:pt>
                <c:pt idx="807">
                  <c:v>41229</c:v>
                </c:pt>
                <c:pt idx="808">
                  <c:v>41232</c:v>
                </c:pt>
                <c:pt idx="809">
                  <c:v>41233</c:v>
                </c:pt>
                <c:pt idx="810">
                  <c:v>41234</c:v>
                </c:pt>
                <c:pt idx="811">
                  <c:v>41235</c:v>
                </c:pt>
                <c:pt idx="812">
                  <c:v>41236</c:v>
                </c:pt>
                <c:pt idx="813">
                  <c:v>41239</c:v>
                </c:pt>
                <c:pt idx="814">
                  <c:v>41240</c:v>
                </c:pt>
                <c:pt idx="815">
                  <c:v>41241</c:v>
                </c:pt>
                <c:pt idx="816">
                  <c:v>41242</c:v>
                </c:pt>
                <c:pt idx="817">
                  <c:v>41243</c:v>
                </c:pt>
                <c:pt idx="818">
                  <c:v>41246</c:v>
                </c:pt>
                <c:pt idx="819">
                  <c:v>41247</c:v>
                </c:pt>
                <c:pt idx="820">
                  <c:v>41248</c:v>
                </c:pt>
                <c:pt idx="821">
                  <c:v>41249</c:v>
                </c:pt>
                <c:pt idx="822">
                  <c:v>41250</c:v>
                </c:pt>
                <c:pt idx="823">
                  <c:v>41253</c:v>
                </c:pt>
                <c:pt idx="824">
                  <c:v>41254</c:v>
                </c:pt>
                <c:pt idx="825">
                  <c:v>41255</c:v>
                </c:pt>
                <c:pt idx="826">
                  <c:v>41256</c:v>
                </c:pt>
                <c:pt idx="827">
                  <c:v>41257</c:v>
                </c:pt>
                <c:pt idx="828">
                  <c:v>41260</c:v>
                </c:pt>
                <c:pt idx="829">
                  <c:v>41261</c:v>
                </c:pt>
                <c:pt idx="830">
                  <c:v>41262</c:v>
                </c:pt>
                <c:pt idx="831">
                  <c:v>41263</c:v>
                </c:pt>
                <c:pt idx="832">
                  <c:v>41264</c:v>
                </c:pt>
                <c:pt idx="833">
                  <c:v>41267</c:v>
                </c:pt>
                <c:pt idx="834">
                  <c:v>41270</c:v>
                </c:pt>
                <c:pt idx="835">
                  <c:v>41271</c:v>
                </c:pt>
                <c:pt idx="836">
                  <c:v>41274</c:v>
                </c:pt>
                <c:pt idx="837">
                  <c:v>41276</c:v>
                </c:pt>
                <c:pt idx="838">
                  <c:v>41277</c:v>
                </c:pt>
                <c:pt idx="839">
                  <c:v>41278</c:v>
                </c:pt>
                <c:pt idx="840">
                  <c:v>41281</c:v>
                </c:pt>
                <c:pt idx="841">
                  <c:v>41282</c:v>
                </c:pt>
                <c:pt idx="842">
                  <c:v>41283</c:v>
                </c:pt>
                <c:pt idx="843">
                  <c:v>41284</c:v>
                </c:pt>
                <c:pt idx="844">
                  <c:v>41285</c:v>
                </c:pt>
                <c:pt idx="845">
                  <c:v>41288</c:v>
                </c:pt>
                <c:pt idx="846">
                  <c:v>41289</c:v>
                </c:pt>
                <c:pt idx="847">
                  <c:v>41290</c:v>
                </c:pt>
                <c:pt idx="848">
                  <c:v>41291</c:v>
                </c:pt>
                <c:pt idx="849">
                  <c:v>41292</c:v>
                </c:pt>
                <c:pt idx="850">
                  <c:v>41295</c:v>
                </c:pt>
                <c:pt idx="851">
                  <c:v>41296</c:v>
                </c:pt>
                <c:pt idx="852">
                  <c:v>41297</c:v>
                </c:pt>
                <c:pt idx="853">
                  <c:v>41298</c:v>
                </c:pt>
                <c:pt idx="854">
                  <c:v>41299</c:v>
                </c:pt>
                <c:pt idx="855">
                  <c:v>41302</c:v>
                </c:pt>
                <c:pt idx="856">
                  <c:v>41303</c:v>
                </c:pt>
                <c:pt idx="857">
                  <c:v>41304</c:v>
                </c:pt>
                <c:pt idx="858">
                  <c:v>41305</c:v>
                </c:pt>
                <c:pt idx="859">
                  <c:v>41306</c:v>
                </c:pt>
                <c:pt idx="860">
                  <c:v>41309</c:v>
                </c:pt>
                <c:pt idx="861">
                  <c:v>41310</c:v>
                </c:pt>
                <c:pt idx="862">
                  <c:v>41311</c:v>
                </c:pt>
                <c:pt idx="863">
                  <c:v>41312</c:v>
                </c:pt>
                <c:pt idx="864">
                  <c:v>41313</c:v>
                </c:pt>
                <c:pt idx="865">
                  <c:v>41316</c:v>
                </c:pt>
                <c:pt idx="866">
                  <c:v>41317</c:v>
                </c:pt>
                <c:pt idx="867">
                  <c:v>41318</c:v>
                </c:pt>
                <c:pt idx="868">
                  <c:v>41319</c:v>
                </c:pt>
                <c:pt idx="869">
                  <c:v>41320</c:v>
                </c:pt>
                <c:pt idx="870">
                  <c:v>41323</c:v>
                </c:pt>
                <c:pt idx="871">
                  <c:v>41324</c:v>
                </c:pt>
                <c:pt idx="872">
                  <c:v>41325</c:v>
                </c:pt>
                <c:pt idx="873">
                  <c:v>41326</c:v>
                </c:pt>
                <c:pt idx="874">
                  <c:v>41327</c:v>
                </c:pt>
                <c:pt idx="875">
                  <c:v>41330</c:v>
                </c:pt>
                <c:pt idx="876">
                  <c:v>41331</c:v>
                </c:pt>
                <c:pt idx="877">
                  <c:v>41332</c:v>
                </c:pt>
                <c:pt idx="878">
                  <c:v>41333</c:v>
                </c:pt>
                <c:pt idx="879">
                  <c:v>41334</c:v>
                </c:pt>
                <c:pt idx="880">
                  <c:v>41337</c:v>
                </c:pt>
                <c:pt idx="881">
                  <c:v>41338</c:v>
                </c:pt>
                <c:pt idx="882">
                  <c:v>41339</c:v>
                </c:pt>
                <c:pt idx="883">
                  <c:v>41340</c:v>
                </c:pt>
                <c:pt idx="884">
                  <c:v>41341</c:v>
                </c:pt>
                <c:pt idx="885">
                  <c:v>41344</c:v>
                </c:pt>
                <c:pt idx="886">
                  <c:v>41345</c:v>
                </c:pt>
                <c:pt idx="887">
                  <c:v>41346</c:v>
                </c:pt>
                <c:pt idx="888">
                  <c:v>41347</c:v>
                </c:pt>
                <c:pt idx="889">
                  <c:v>41348</c:v>
                </c:pt>
                <c:pt idx="890">
                  <c:v>41351</c:v>
                </c:pt>
                <c:pt idx="891">
                  <c:v>41352</c:v>
                </c:pt>
                <c:pt idx="892">
                  <c:v>41353</c:v>
                </c:pt>
                <c:pt idx="893">
                  <c:v>41354</c:v>
                </c:pt>
                <c:pt idx="894">
                  <c:v>41355</c:v>
                </c:pt>
                <c:pt idx="895">
                  <c:v>41358</c:v>
                </c:pt>
                <c:pt idx="896">
                  <c:v>41359</c:v>
                </c:pt>
                <c:pt idx="897">
                  <c:v>41360</c:v>
                </c:pt>
                <c:pt idx="898">
                  <c:v>41361</c:v>
                </c:pt>
                <c:pt idx="899">
                  <c:v>41366</c:v>
                </c:pt>
                <c:pt idx="900">
                  <c:v>41367</c:v>
                </c:pt>
                <c:pt idx="901">
                  <c:v>41368</c:v>
                </c:pt>
                <c:pt idx="902">
                  <c:v>41369</c:v>
                </c:pt>
                <c:pt idx="903">
                  <c:v>41372</c:v>
                </c:pt>
                <c:pt idx="904">
                  <c:v>41373</c:v>
                </c:pt>
                <c:pt idx="905">
                  <c:v>41374</c:v>
                </c:pt>
                <c:pt idx="906">
                  <c:v>41375</c:v>
                </c:pt>
                <c:pt idx="907">
                  <c:v>41376</c:v>
                </c:pt>
                <c:pt idx="908">
                  <c:v>41379</c:v>
                </c:pt>
                <c:pt idx="909">
                  <c:v>41380</c:v>
                </c:pt>
                <c:pt idx="910">
                  <c:v>41381</c:v>
                </c:pt>
                <c:pt idx="911">
                  <c:v>41382</c:v>
                </c:pt>
                <c:pt idx="912">
                  <c:v>41383</c:v>
                </c:pt>
                <c:pt idx="913">
                  <c:v>41386</c:v>
                </c:pt>
                <c:pt idx="914">
                  <c:v>41387</c:v>
                </c:pt>
                <c:pt idx="915">
                  <c:v>41388</c:v>
                </c:pt>
                <c:pt idx="916">
                  <c:v>41389</c:v>
                </c:pt>
                <c:pt idx="917">
                  <c:v>41390</c:v>
                </c:pt>
                <c:pt idx="918">
                  <c:v>41393</c:v>
                </c:pt>
                <c:pt idx="919">
                  <c:v>41394</c:v>
                </c:pt>
                <c:pt idx="920">
                  <c:v>41395</c:v>
                </c:pt>
                <c:pt idx="921">
                  <c:v>41396</c:v>
                </c:pt>
                <c:pt idx="922">
                  <c:v>41397</c:v>
                </c:pt>
                <c:pt idx="923">
                  <c:v>41400</c:v>
                </c:pt>
                <c:pt idx="924">
                  <c:v>41401</c:v>
                </c:pt>
                <c:pt idx="925">
                  <c:v>41402</c:v>
                </c:pt>
                <c:pt idx="926">
                  <c:v>41403</c:v>
                </c:pt>
                <c:pt idx="927">
                  <c:v>41404</c:v>
                </c:pt>
                <c:pt idx="928">
                  <c:v>41407</c:v>
                </c:pt>
                <c:pt idx="929">
                  <c:v>41408</c:v>
                </c:pt>
                <c:pt idx="930">
                  <c:v>41409</c:v>
                </c:pt>
                <c:pt idx="931">
                  <c:v>41410</c:v>
                </c:pt>
                <c:pt idx="932">
                  <c:v>41411</c:v>
                </c:pt>
                <c:pt idx="933">
                  <c:v>41414</c:v>
                </c:pt>
                <c:pt idx="934">
                  <c:v>41415</c:v>
                </c:pt>
                <c:pt idx="935">
                  <c:v>41416</c:v>
                </c:pt>
                <c:pt idx="936">
                  <c:v>41417</c:v>
                </c:pt>
                <c:pt idx="937">
                  <c:v>41418</c:v>
                </c:pt>
                <c:pt idx="938">
                  <c:v>41421</c:v>
                </c:pt>
                <c:pt idx="939">
                  <c:v>41422</c:v>
                </c:pt>
                <c:pt idx="940">
                  <c:v>41423</c:v>
                </c:pt>
                <c:pt idx="941">
                  <c:v>41424</c:v>
                </c:pt>
                <c:pt idx="942">
                  <c:v>41425</c:v>
                </c:pt>
                <c:pt idx="943">
                  <c:v>41428</c:v>
                </c:pt>
                <c:pt idx="944">
                  <c:v>41429</c:v>
                </c:pt>
                <c:pt idx="945">
                  <c:v>41430</c:v>
                </c:pt>
                <c:pt idx="946">
                  <c:v>41431</c:v>
                </c:pt>
                <c:pt idx="947">
                  <c:v>41432</c:v>
                </c:pt>
                <c:pt idx="948">
                  <c:v>41435</c:v>
                </c:pt>
                <c:pt idx="949">
                  <c:v>41436</c:v>
                </c:pt>
                <c:pt idx="950">
                  <c:v>41437</c:v>
                </c:pt>
                <c:pt idx="951">
                  <c:v>41438</c:v>
                </c:pt>
                <c:pt idx="952">
                  <c:v>41439</c:v>
                </c:pt>
                <c:pt idx="953">
                  <c:v>41442</c:v>
                </c:pt>
                <c:pt idx="954">
                  <c:v>41443</c:v>
                </c:pt>
                <c:pt idx="955">
                  <c:v>41444</c:v>
                </c:pt>
                <c:pt idx="956">
                  <c:v>41445</c:v>
                </c:pt>
                <c:pt idx="957">
                  <c:v>41446</c:v>
                </c:pt>
                <c:pt idx="958">
                  <c:v>41449</c:v>
                </c:pt>
                <c:pt idx="959">
                  <c:v>41450</c:v>
                </c:pt>
                <c:pt idx="960">
                  <c:v>41451</c:v>
                </c:pt>
                <c:pt idx="961">
                  <c:v>41452</c:v>
                </c:pt>
                <c:pt idx="962">
                  <c:v>41453</c:v>
                </c:pt>
                <c:pt idx="963">
                  <c:v>41456</c:v>
                </c:pt>
                <c:pt idx="964">
                  <c:v>41457</c:v>
                </c:pt>
                <c:pt idx="965">
                  <c:v>41458</c:v>
                </c:pt>
                <c:pt idx="966">
                  <c:v>41459</c:v>
                </c:pt>
                <c:pt idx="967">
                  <c:v>41460</c:v>
                </c:pt>
                <c:pt idx="968">
                  <c:v>41463</c:v>
                </c:pt>
                <c:pt idx="969">
                  <c:v>41464</c:v>
                </c:pt>
                <c:pt idx="970">
                  <c:v>41465</c:v>
                </c:pt>
                <c:pt idx="971">
                  <c:v>41466</c:v>
                </c:pt>
                <c:pt idx="972">
                  <c:v>41467</c:v>
                </c:pt>
                <c:pt idx="973">
                  <c:v>41470</c:v>
                </c:pt>
                <c:pt idx="974">
                  <c:v>41471</c:v>
                </c:pt>
                <c:pt idx="975">
                  <c:v>41472</c:v>
                </c:pt>
                <c:pt idx="976">
                  <c:v>41473</c:v>
                </c:pt>
                <c:pt idx="977">
                  <c:v>41474</c:v>
                </c:pt>
                <c:pt idx="978">
                  <c:v>41477</c:v>
                </c:pt>
                <c:pt idx="979">
                  <c:v>41478</c:v>
                </c:pt>
                <c:pt idx="980">
                  <c:v>41479</c:v>
                </c:pt>
                <c:pt idx="981">
                  <c:v>41480</c:v>
                </c:pt>
                <c:pt idx="982">
                  <c:v>41481</c:v>
                </c:pt>
                <c:pt idx="983">
                  <c:v>41484</c:v>
                </c:pt>
                <c:pt idx="984">
                  <c:v>41485</c:v>
                </c:pt>
                <c:pt idx="985">
                  <c:v>41486</c:v>
                </c:pt>
                <c:pt idx="986">
                  <c:v>41487</c:v>
                </c:pt>
                <c:pt idx="987">
                  <c:v>41488</c:v>
                </c:pt>
                <c:pt idx="988">
                  <c:v>41491</c:v>
                </c:pt>
                <c:pt idx="989">
                  <c:v>41492</c:v>
                </c:pt>
                <c:pt idx="990">
                  <c:v>41493</c:v>
                </c:pt>
                <c:pt idx="991">
                  <c:v>41494</c:v>
                </c:pt>
                <c:pt idx="992">
                  <c:v>41495</c:v>
                </c:pt>
                <c:pt idx="993">
                  <c:v>41498</c:v>
                </c:pt>
                <c:pt idx="994">
                  <c:v>41499</c:v>
                </c:pt>
                <c:pt idx="995">
                  <c:v>41500</c:v>
                </c:pt>
                <c:pt idx="996">
                  <c:v>41501</c:v>
                </c:pt>
                <c:pt idx="997">
                  <c:v>41502</c:v>
                </c:pt>
                <c:pt idx="998">
                  <c:v>41505</c:v>
                </c:pt>
                <c:pt idx="999">
                  <c:v>41506</c:v>
                </c:pt>
                <c:pt idx="1000">
                  <c:v>41507</c:v>
                </c:pt>
                <c:pt idx="1001">
                  <c:v>41508</c:v>
                </c:pt>
                <c:pt idx="1002">
                  <c:v>41509</c:v>
                </c:pt>
                <c:pt idx="1003">
                  <c:v>41512</c:v>
                </c:pt>
                <c:pt idx="1004">
                  <c:v>41513</c:v>
                </c:pt>
                <c:pt idx="1005">
                  <c:v>41514</c:v>
                </c:pt>
                <c:pt idx="1006">
                  <c:v>41515</c:v>
                </c:pt>
                <c:pt idx="1007">
                  <c:v>41516</c:v>
                </c:pt>
                <c:pt idx="1008">
                  <c:v>41519</c:v>
                </c:pt>
                <c:pt idx="1009">
                  <c:v>41520</c:v>
                </c:pt>
                <c:pt idx="1010">
                  <c:v>41521</c:v>
                </c:pt>
                <c:pt idx="1011">
                  <c:v>41522</c:v>
                </c:pt>
                <c:pt idx="1012">
                  <c:v>41523</c:v>
                </c:pt>
                <c:pt idx="1013">
                  <c:v>41526</c:v>
                </c:pt>
                <c:pt idx="1014">
                  <c:v>41527</c:v>
                </c:pt>
                <c:pt idx="1015">
                  <c:v>41528</c:v>
                </c:pt>
                <c:pt idx="1016">
                  <c:v>41529</c:v>
                </c:pt>
                <c:pt idx="1017">
                  <c:v>41530</c:v>
                </c:pt>
                <c:pt idx="1018">
                  <c:v>41533</c:v>
                </c:pt>
                <c:pt idx="1019">
                  <c:v>41534</c:v>
                </c:pt>
                <c:pt idx="1020">
                  <c:v>41535</c:v>
                </c:pt>
                <c:pt idx="1021">
                  <c:v>41536</c:v>
                </c:pt>
                <c:pt idx="1022">
                  <c:v>41537</c:v>
                </c:pt>
                <c:pt idx="1023">
                  <c:v>41540</c:v>
                </c:pt>
                <c:pt idx="1024">
                  <c:v>41541</c:v>
                </c:pt>
                <c:pt idx="1025">
                  <c:v>41542</c:v>
                </c:pt>
                <c:pt idx="1026">
                  <c:v>41543</c:v>
                </c:pt>
                <c:pt idx="1027">
                  <c:v>41544</c:v>
                </c:pt>
                <c:pt idx="1028">
                  <c:v>41547</c:v>
                </c:pt>
                <c:pt idx="1029">
                  <c:v>41548</c:v>
                </c:pt>
                <c:pt idx="1030">
                  <c:v>41549</c:v>
                </c:pt>
                <c:pt idx="1031">
                  <c:v>41550</c:v>
                </c:pt>
                <c:pt idx="1032">
                  <c:v>41551</c:v>
                </c:pt>
                <c:pt idx="1033">
                  <c:v>41554</c:v>
                </c:pt>
                <c:pt idx="1034">
                  <c:v>41555</c:v>
                </c:pt>
                <c:pt idx="1035">
                  <c:v>41556</c:v>
                </c:pt>
                <c:pt idx="1036">
                  <c:v>41557</c:v>
                </c:pt>
                <c:pt idx="1037">
                  <c:v>41558</c:v>
                </c:pt>
                <c:pt idx="1038">
                  <c:v>41561</c:v>
                </c:pt>
                <c:pt idx="1039">
                  <c:v>41562</c:v>
                </c:pt>
                <c:pt idx="1040">
                  <c:v>41563</c:v>
                </c:pt>
                <c:pt idx="1041">
                  <c:v>41564</c:v>
                </c:pt>
                <c:pt idx="1042">
                  <c:v>41565</c:v>
                </c:pt>
                <c:pt idx="1043">
                  <c:v>41568</c:v>
                </c:pt>
                <c:pt idx="1044">
                  <c:v>41569</c:v>
                </c:pt>
                <c:pt idx="1045">
                  <c:v>41570</c:v>
                </c:pt>
                <c:pt idx="1046">
                  <c:v>41571</c:v>
                </c:pt>
                <c:pt idx="1047">
                  <c:v>41572</c:v>
                </c:pt>
                <c:pt idx="1048">
                  <c:v>41575</c:v>
                </c:pt>
                <c:pt idx="1049">
                  <c:v>41576</c:v>
                </c:pt>
                <c:pt idx="1050">
                  <c:v>41577</c:v>
                </c:pt>
                <c:pt idx="1051">
                  <c:v>41578</c:v>
                </c:pt>
                <c:pt idx="1052">
                  <c:v>41579</c:v>
                </c:pt>
                <c:pt idx="1053">
                  <c:v>41582</c:v>
                </c:pt>
                <c:pt idx="1054">
                  <c:v>41583</c:v>
                </c:pt>
                <c:pt idx="1055">
                  <c:v>41584</c:v>
                </c:pt>
                <c:pt idx="1056">
                  <c:v>41585</c:v>
                </c:pt>
                <c:pt idx="1057">
                  <c:v>41586</c:v>
                </c:pt>
                <c:pt idx="1058">
                  <c:v>41589</c:v>
                </c:pt>
                <c:pt idx="1059">
                  <c:v>41590</c:v>
                </c:pt>
                <c:pt idx="1060">
                  <c:v>41591</c:v>
                </c:pt>
                <c:pt idx="1061">
                  <c:v>41592</c:v>
                </c:pt>
                <c:pt idx="1062">
                  <c:v>41593</c:v>
                </c:pt>
                <c:pt idx="1063">
                  <c:v>41596</c:v>
                </c:pt>
                <c:pt idx="1064">
                  <c:v>41597</c:v>
                </c:pt>
                <c:pt idx="1065">
                  <c:v>41598</c:v>
                </c:pt>
                <c:pt idx="1066">
                  <c:v>41599</c:v>
                </c:pt>
                <c:pt idx="1067">
                  <c:v>41600</c:v>
                </c:pt>
                <c:pt idx="1068">
                  <c:v>41603</c:v>
                </c:pt>
                <c:pt idx="1069">
                  <c:v>41604</c:v>
                </c:pt>
                <c:pt idx="1070">
                  <c:v>41605</c:v>
                </c:pt>
                <c:pt idx="1071">
                  <c:v>41606</c:v>
                </c:pt>
                <c:pt idx="1072">
                  <c:v>41607</c:v>
                </c:pt>
                <c:pt idx="1073">
                  <c:v>41610</c:v>
                </c:pt>
                <c:pt idx="1074">
                  <c:v>41611</c:v>
                </c:pt>
                <c:pt idx="1075">
                  <c:v>41612</c:v>
                </c:pt>
                <c:pt idx="1076">
                  <c:v>41613</c:v>
                </c:pt>
                <c:pt idx="1077">
                  <c:v>41614</c:v>
                </c:pt>
                <c:pt idx="1078">
                  <c:v>41617</c:v>
                </c:pt>
                <c:pt idx="1079">
                  <c:v>41618</c:v>
                </c:pt>
                <c:pt idx="1080">
                  <c:v>41619</c:v>
                </c:pt>
                <c:pt idx="1081">
                  <c:v>41620</c:v>
                </c:pt>
                <c:pt idx="1082">
                  <c:v>41621</c:v>
                </c:pt>
                <c:pt idx="1083">
                  <c:v>41624</c:v>
                </c:pt>
                <c:pt idx="1084">
                  <c:v>41625</c:v>
                </c:pt>
                <c:pt idx="1085">
                  <c:v>41626</c:v>
                </c:pt>
                <c:pt idx="1086">
                  <c:v>41627</c:v>
                </c:pt>
                <c:pt idx="1087">
                  <c:v>41628</c:v>
                </c:pt>
                <c:pt idx="1088">
                  <c:v>41631</c:v>
                </c:pt>
                <c:pt idx="1089">
                  <c:v>41632</c:v>
                </c:pt>
                <c:pt idx="1090">
                  <c:v>41635</c:v>
                </c:pt>
                <c:pt idx="1091">
                  <c:v>41638</c:v>
                </c:pt>
                <c:pt idx="1092">
                  <c:v>41639</c:v>
                </c:pt>
                <c:pt idx="1093">
                  <c:v>41641</c:v>
                </c:pt>
                <c:pt idx="1094">
                  <c:v>41642</c:v>
                </c:pt>
                <c:pt idx="1095">
                  <c:v>41645</c:v>
                </c:pt>
                <c:pt idx="1096">
                  <c:v>41646</c:v>
                </c:pt>
                <c:pt idx="1097">
                  <c:v>41647</c:v>
                </c:pt>
                <c:pt idx="1098">
                  <c:v>41648</c:v>
                </c:pt>
                <c:pt idx="1099">
                  <c:v>41649</c:v>
                </c:pt>
                <c:pt idx="1100">
                  <c:v>41652</c:v>
                </c:pt>
                <c:pt idx="1101">
                  <c:v>41653</c:v>
                </c:pt>
                <c:pt idx="1102">
                  <c:v>41654</c:v>
                </c:pt>
                <c:pt idx="1103">
                  <c:v>41655</c:v>
                </c:pt>
                <c:pt idx="1104">
                  <c:v>41656</c:v>
                </c:pt>
                <c:pt idx="1105">
                  <c:v>41659</c:v>
                </c:pt>
                <c:pt idx="1106">
                  <c:v>41660</c:v>
                </c:pt>
                <c:pt idx="1107">
                  <c:v>41661</c:v>
                </c:pt>
                <c:pt idx="1108">
                  <c:v>41662</c:v>
                </c:pt>
                <c:pt idx="1109">
                  <c:v>41663</c:v>
                </c:pt>
                <c:pt idx="1110">
                  <c:v>41666</c:v>
                </c:pt>
                <c:pt idx="1111">
                  <c:v>41667</c:v>
                </c:pt>
                <c:pt idx="1112">
                  <c:v>41668</c:v>
                </c:pt>
                <c:pt idx="1113">
                  <c:v>41669</c:v>
                </c:pt>
                <c:pt idx="1114">
                  <c:v>41670</c:v>
                </c:pt>
                <c:pt idx="1115">
                  <c:v>41673</c:v>
                </c:pt>
                <c:pt idx="1116">
                  <c:v>41674</c:v>
                </c:pt>
                <c:pt idx="1117">
                  <c:v>41675</c:v>
                </c:pt>
                <c:pt idx="1118">
                  <c:v>41676</c:v>
                </c:pt>
                <c:pt idx="1119">
                  <c:v>41677</c:v>
                </c:pt>
                <c:pt idx="1120">
                  <c:v>41680</c:v>
                </c:pt>
                <c:pt idx="1121">
                  <c:v>41681</c:v>
                </c:pt>
                <c:pt idx="1122">
                  <c:v>41682</c:v>
                </c:pt>
                <c:pt idx="1123">
                  <c:v>41683</c:v>
                </c:pt>
                <c:pt idx="1124">
                  <c:v>41684</c:v>
                </c:pt>
                <c:pt idx="1125">
                  <c:v>41687</c:v>
                </c:pt>
                <c:pt idx="1126">
                  <c:v>41688</c:v>
                </c:pt>
                <c:pt idx="1127">
                  <c:v>41689</c:v>
                </c:pt>
                <c:pt idx="1128">
                  <c:v>41690</c:v>
                </c:pt>
                <c:pt idx="1129">
                  <c:v>41691</c:v>
                </c:pt>
                <c:pt idx="1130">
                  <c:v>41694</c:v>
                </c:pt>
                <c:pt idx="1131">
                  <c:v>41695</c:v>
                </c:pt>
                <c:pt idx="1132">
                  <c:v>41696</c:v>
                </c:pt>
                <c:pt idx="1133">
                  <c:v>41697</c:v>
                </c:pt>
                <c:pt idx="1134">
                  <c:v>41698</c:v>
                </c:pt>
                <c:pt idx="1135">
                  <c:v>41701</c:v>
                </c:pt>
                <c:pt idx="1136">
                  <c:v>41702</c:v>
                </c:pt>
                <c:pt idx="1137">
                  <c:v>41703</c:v>
                </c:pt>
                <c:pt idx="1138">
                  <c:v>41704</c:v>
                </c:pt>
                <c:pt idx="1139">
                  <c:v>41705</c:v>
                </c:pt>
                <c:pt idx="1140">
                  <c:v>41708</c:v>
                </c:pt>
                <c:pt idx="1141">
                  <c:v>41709</c:v>
                </c:pt>
                <c:pt idx="1142">
                  <c:v>41710</c:v>
                </c:pt>
                <c:pt idx="1143">
                  <c:v>41711</c:v>
                </c:pt>
                <c:pt idx="1144">
                  <c:v>41712</c:v>
                </c:pt>
                <c:pt idx="1145">
                  <c:v>41715</c:v>
                </c:pt>
                <c:pt idx="1146">
                  <c:v>41716</c:v>
                </c:pt>
                <c:pt idx="1147">
                  <c:v>41717</c:v>
                </c:pt>
                <c:pt idx="1148">
                  <c:v>41718</c:v>
                </c:pt>
                <c:pt idx="1149">
                  <c:v>41719</c:v>
                </c:pt>
                <c:pt idx="1150">
                  <c:v>41722</c:v>
                </c:pt>
                <c:pt idx="1151">
                  <c:v>41723</c:v>
                </c:pt>
                <c:pt idx="1152">
                  <c:v>41724</c:v>
                </c:pt>
                <c:pt idx="1153">
                  <c:v>41725</c:v>
                </c:pt>
                <c:pt idx="1154">
                  <c:v>41726</c:v>
                </c:pt>
                <c:pt idx="1155">
                  <c:v>41729</c:v>
                </c:pt>
                <c:pt idx="1156">
                  <c:v>41730</c:v>
                </c:pt>
                <c:pt idx="1157">
                  <c:v>41731</c:v>
                </c:pt>
                <c:pt idx="1158">
                  <c:v>41732</c:v>
                </c:pt>
                <c:pt idx="1159">
                  <c:v>41733</c:v>
                </c:pt>
                <c:pt idx="1160">
                  <c:v>41736</c:v>
                </c:pt>
                <c:pt idx="1161">
                  <c:v>41737</c:v>
                </c:pt>
                <c:pt idx="1162">
                  <c:v>41738</c:v>
                </c:pt>
                <c:pt idx="1163">
                  <c:v>41739</c:v>
                </c:pt>
                <c:pt idx="1164">
                  <c:v>41740</c:v>
                </c:pt>
                <c:pt idx="1165">
                  <c:v>41743</c:v>
                </c:pt>
                <c:pt idx="1166">
                  <c:v>41744</c:v>
                </c:pt>
                <c:pt idx="1167">
                  <c:v>41745</c:v>
                </c:pt>
                <c:pt idx="1168">
                  <c:v>41746</c:v>
                </c:pt>
                <c:pt idx="1169">
                  <c:v>41751</c:v>
                </c:pt>
                <c:pt idx="1170">
                  <c:v>41752</c:v>
                </c:pt>
                <c:pt idx="1171">
                  <c:v>41753</c:v>
                </c:pt>
                <c:pt idx="1172">
                  <c:v>41754</c:v>
                </c:pt>
                <c:pt idx="1173">
                  <c:v>41757</c:v>
                </c:pt>
                <c:pt idx="1174">
                  <c:v>41758</c:v>
                </c:pt>
                <c:pt idx="1175">
                  <c:v>41759</c:v>
                </c:pt>
                <c:pt idx="1176">
                  <c:v>41760</c:v>
                </c:pt>
                <c:pt idx="1177">
                  <c:v>41761</c:v>
                </c:pt>
                <c:pt idx="1178">
                  <c:v>41764</c:v>
                </c:pt>
                <c:pt idx="1179">
                  <c:v>41765</c:v>
                </c:pt>
                <c:pt idx="1180">
                  <c:v>41766</c:v>
                </c:pt>
                <c:pt idx="1181">
                  <c:v>41767</c:v>
                </c:pt>
                <c:pt idx="1182">
                  <c:v>41768</c:v>
                </c:pt>
                <c:pt idx="1183">
                  <c:v>41771</c:v>
                </c:pt>
                <c:pt idx="1184">
                  <c:v>41772</c:v>
                </c:pt>
                <c:pt idx="1185">
                  <c:v>41773</c:v>
                </c:pt>
                <c:pt idx="1186">
                  <c:v>41774</c:v>
                </c:pt>
                <c:pt idx="1187">
                  <c:v>41775</c:v>
                </c:pt>
                <c:pt idx="1188">
                  <c:v>41778</c:v>
                </c:pt>
                <c:pt idx="1189">
                  <c:v>41779</c:v>
                </c:pt>
                <c:pt idx="1190">
                  <c:v>41780</c:v>
                </c:pt>
                <c:pt idx="1191">
                  <c:v>41781</c:v>
                </c:pt>
                <c:pt idx="1192">
                  <c:v>41782</c:v>
                </c:pt>
                <c:pt idx="1193">
                  <c:v>41785</c:v>
                </c:pt>
                <c:pt idx="1194">
                  <c:v>41786</c:v>
                </c:pt>
                <c:pt idx="1195">
                  <c:v>41787</c:v>
                </c:pt>
                <c:pt idx="1196">
                  <c:v>41788</c:v>
                </c:pt>
                <c:pt idx="1197">
                  <c:v>41789</c:v>
                </c:pt>
                <c:pt idx="1198">
                  <c:v>41792</c:v>
                </c:pt>
                <c:pt idx="1199">
                  <c:v>41793</c:v>
                </c:pt>
                <c:pt idx="1200">
                  <c:v>41794</c:v>
                </c:pt>
                <c:pt idx="1201">
                  <c:v>41795</c:v>
                </c:pt>
                <c:pt idx="1202">
                  <c:v>41796</c:v>
                </c:pt>
                <c:pt idx="1203">
                  <c:v>41799</c:v>
                </c:pt>
                <c:pt idx="1204">
                  <c:v>41800</c:v>
                </c:pt>
                <c:pt idx="1205">
                  <c:v>41801</c:v>
                </c:pt>
                <c:pt idx="1206">
                  <c:v>41802</c:v>
                </c:pt>
                <c:pt idx="1207">
                  <c:v>41803</c:v>
                </c:pt>
                <c:pt idx="1208">
                  <c:v>41806</c:v>
                </c:pt>
                <c:pt idx="1209">
                  <c:v>41807</c:v>
                </c:pt>
                <c:pt idx="1210">
                  <c:v>41808</c:v>
                </c:pt>
                <c:pt idx="1211">
                  <c:v>41809</c:v>
                </c:pt>
                <c:pt idx="1212">
                  <c:v>41810</c:v>
                </c:pt>
                <c:pt idx="1213">
                  <c:v>41813</c:v>
                </c:pt>
                <c:pt idx="1214">
                  <c:v>41814</c:v>
                </c:pt>
                <c:pt idx="1215">
                  <c:v>41815</c:v>
                </c:pt>
                <c:pt idx="1216">
                  <c:v>41816</c:v>
                </c:pt>
                <c:pt idx="1217">
                  <c:v>41817</c:v>
                </c:pt>
                <c:pt idx="1218">
                  <c:v>41820</c:v>
                </c:pt>
                <c:pt idx="1219">
                  <c:v>41821</c:v>
                </c:pt>
                <c:pt idx="1220">
                  <c:v>41822</c:v>
                </c:pt>
                <c:pt idx="1221">
                  <c:v>41823</c:v>
                </c:pt>
                <c:pt idx="1222">
                  <c:v>41824</c:v>
                </c:pt>
                <c:pt idx="1223">
                  <c:v>41827</c:v>
                </c:pt>
                <c:pt idx="1224">
                  <c:v>41828</c:v>
                </c:pt>
                <c:pt idx="1225">
                  <c:v>41829</c:v>
                </c:pt>
                <c:pt idx="1226">
                  <c:v>41830</c:v>
                </c:pt>
                <c:pt idx="1227">
                  <c:v>41831</c:v>
                </c:pt>
                <c:pt idx="1228">
                  <c:v>41834</c:v>
                </c:pt>
                <c:pt idx="1229">
                  <c:v>41835</c:v>
                </c:pt>
                <c:pt idx="1230">
                  <c:v>41836</c:v>
                </c:pt>
                <c:pt idx="1231">
                  <c:v>41837</c:v>
                </c:pt>
                <c:pt idx="1232">
                  <c:v>41838</c:v>
                </c:pt>
                <c:pt idx="1233">
                  <c:v>41841</c:v>
                </c:pt>
                <c:pt idx="1234">
                  <c:v>41842</c:v>
                </c:pt>
                <c:pt idx="1235">
                  <c:v>41843</c:v>
                </c:pt>
                <c:pt idx="1236">
                  <c:v>41844</c:v>
                </c:pt>
                <c:pt idx="1237">
                  <c:v>41845</c:v>
                </c:pt>
                <c:pt idx="1238">
                  <c:v>41848</c:v>
                </c:pt>
                <c:pt idx="1239">
                  <c:v>41849</c:v>
                </c:pt>
                <c:pt idx="1240">
                  <c:v>41850</c:v>
                </c:pt>
                <c:pt idx="1241">
                  <c:v>41851</c:v>
                </c:pt>
                <c:pt idx="1242">
                  <c:v>41852</c:v>
                </c:pt>
                <c:pt idx="1243">
                  <c:v>41855</c:v>
                </c:pt>
                <c:pt idx="1244">
                  <c:v>41856</c:v>
                </c:pt>
                <c:pt idx="1245">
                  <c:v>41857</c:v>
                </c:pt>
              </c:numCache>
            </c:numRef>
          </c:cat>
          <c:val>
            <c:numRef>
              <c:f>Sheet1!$C$2:$C$1247</c:f>
              <c:numCache>
                <c:formatCode>General</c:formatCode>
                <c:ptCount val="1246"/>
                <c:pt idx="0">
                  <c:v>100</c:v>
                </c:pt>
                <c:pt idx="1">
                  <c:v>98.357091084803088</c:v>
                </c:pt>
                <c:pt idx="2">
                  <c:v>98.030925344286075</c:v>
                </c:pt>
                <c:pt idx="3">
                  <c:v>99.045663203672376</c:v>
                </c:pt>
                <c:pt idx="4">
                  <c:v>100.06040106305872</c:v>
                </c:pt>
                <c:pt idx="5">
                  <c:v>100.44696786663445</c:v>
                </c:pt>
                <c:pt idx="6">
                  <c:v>101.32882338729161</c:v>
                </c:pt>
                <c:pt idx="7">
                  <c:v>101.42546508818555</c:v>
                </c:pt>
                <c:pt idx="8">
                  <c:v>101.93283401787872</c:v>
                </c:pt>
                <c:pt idx="9">
                  <c:v>102.63348634935974</c:v>
                </c:pt>
                <c:pt idx="10">
                  <c:v>102.7663686880889</c:v>
                </c:pt>
                <c:pt idx="11">
                  <c:v>102.31940082145445</c:v>
                </c:pt>
                <c:pt idx="12">
                  <c:v>103.43078038173472</c:v>
                </c:pt>
                <c:pt idx="13">
                  <c:v>104.2039139888862</c:v>
                </c:pt>
                <c:pt idx="14">
                  <c:v>103.59990335829912</c:v>
                </c:pt>
                <c:pt idx="15">
                  <c:v>102.48852379801885</c:v>
                </c:pt>
                <c:pt idx="16">
                  <c:v>102.51268422324233</c:v>
                </c:pt>
                <c:pt idx="17">
                  <c:v>102.94757187726505</c:v>
                </c:pt>
                <c:pt idx="18">
                  <c:v>101.20802126117418</c:v>
                </c:pt>
                <c:pt idx="19">
                  <c:v>100.95433679632761</c:v>
                </c:pt>
                <c:pt idx="20">
                  <c:v>99.226866392848507</c:v>
                </c:pt>
                <c:pt idx="21">
                  <c:v>100.71273254409279</c:v>
                </c:pt>
                <c:pt idx="22">
                  <c:v>100.49528871708142</c:v>
                </c:pt>
                <c:pt idx="23">
                  <c:v>100.26576467745831</c:v>
                </c:pt>
                <c:pt idx="24">
                  <c:v>101.23218168639767</c:v>
                </c:pt>
                <c:pt idx="25">
                  <c:v>100.8093742449867</c:v>
                </c:pt>
                <c:pt idx="26">
                  <c:v>101.73955061609084</c:v>
                </c:pt>
                <c:pt idx="27">
                  <c:v>102.31940082145445</c:v>
                </c:pt>
                <c:pt idx="28">
                  <c:v>102.62140613674802</c:v>
                </c:pt>
                <c:pt idx="29">
                  <c:v>103.12877506644118</c:v>
                </c:pt>
                <c:pt idx="30">
                  <c:v>102.34356124667794</c:v>
                </c:pt>
                <c:pt idx="31">
                  <c:v>102.98381251510027</c:v>
                </c:pt>
                <c:pt idx="32">
                  <c:v>104.26431505194491</c:v>
                </c:pt>
                <c:pt idx="33">
                  <c:v>103.78110654747523</c:v>
                </c:pt>
                <c:pt idx="34">
                  <c:v>103.57574293307562</c:v>
                </c:pt>
                <c:pt idx="35">
                  <c:v>103.00797294032374</c:v>
                </c:pt>
                <c:pt idx="36">
                  <c:v>103.1408552790529</c:v>
                </c:pt>
                <c:pt idx="37">
                  <c:v>103.72070548441653</c:v>
                </c:pt>
                <c:pt idx="38">
                  <c:v>102.36772167190142</c:v>
                </c:pt>
                <c:pt idx="39">
                  <c:v>104.11935250060399</c:v>
                </c:pt>
                <c:pt idx="40">
                  <c:v>102.82676975114762</c:v>
                </c:pt>
                <c:pt idx="41">
                  <c:v>100.02416042522349</c:v>
                </c:pt>
                <c:pt idx="42">
                  <c:v>103.10461464121768</c:v>
                </c:pt>
                <c:pt idx="43">
                  <c:v>104.91664653297896</c:v>
                </c:pt>
                <c:pt idx="44">
                  <c:v>105.18241121043729</c:v>
                </c:pt>
                <c:pt idx="45">
                  <c:v>106.63203672384634</c:v>
                </c:pt>
                <c:pt idx="46">
                  <c:v>105.55689780140129</c:v>
                </c:pt>
                <c:pt idx="47">
                  <c:v>106.59579608601111</c:v>
                </c:pt>
                <c:pt idx="48">
                  <c:v>106.84948055085771</c:v>
                </c:pt>
                <c:pt idx="49">
                  <c:v>106.02802609325923</c:v>
                </c:pt>
                <c:pt idx="50">
                  <c:v>105.37569461222517</c:v>
                </c:pt>
                <c:pt idx="51">
                  <c:v>105.91930417975357</c:v>
                </c:pt>
                <c:pt idx="52">
                  <c:v>106.13674800676492</c:v>
                </c:pt>
                <c:pt idx="53">
                  <c:v>105.29113312394298</c:v>
                </c:pt>
                <c:pt idx="54">
                  <c:v>105.55689780140129</c:v>
                </c:pt>
                <c:pt idx="55">
                  <c:v>104.42135781589757</c:v>
                </c:pt>
                <c:pt idx="56">
                  <c:v>103.33413868084078</c:v>
                </c:pt>
                <c:pt idx="57">
                  <c:v>102.7059676250302</c:v>
                </c:pt>
                <c:pt idx="58">
                  <c:v>102.66972698719496</c:v>
                </c:pt>
                <c:pt idx="59">
                  <c:v>103.43078038173472</c:v>
                </c:pt>
                <c:pt idx="60">
                  <c:v>103.43078038173472</c:v>
                </c:pt>
                <c:pt idx="61">
                  <c:v>105.65353950229523</c:v>
                </c:pt>
                <c:pt idx="62">
                  <c:v>105.75018120318917</c:v>
                </c:pt>
                <c:pt idx="63">
                  <c:v>105.60521865184826</c:v>
                </c:pt>
                <c:pt idx="64">
                  <c:v>105.60521865184826</c:v>
                </c:pt>
                <c:pt idx="65">
                  <c:v>106.86156076346943</c:v>
                </c:pt>
                <c:pt idx="66">
                  <c:v>108.00918096158492</c:v>
                </c:pt>
                <c:pt idx="67">
                  <c:v>108.60111137956028</c:v>
                </c:pt>
                <c:pt idx="68">
                  <c:v>107.29644841749213</c:v>
                </c:pt>
                <c:pt idx="69">
                  <c:v>108.39574776516068</c:v>
                </c:pt>
                <c:pt idx="70">
                  <c:v>109.03599903358298</c:v>
                </c:pt>
                <c:pt idx="71">
                  <c:v>110.25610050736891</c:v>
                </c:pt>
                <c:pt idx="72">
                  <c:v>108.50446967866634</c:v>
                </c:pt>
                <c:pt idx="73">
                  <c:v>110.01449625513409</c:v>
                </c:pt>
                <c:pt idx="74">
                  <c:v>110.67890794877991</c:v>
                </c:pt>
                <c:pt idx="75">
                  <c:v>110.533945397439</c:v>
                </c:pt>
                <c:pt idx="76">
                  <c:v>109.88161391640492</c:v>
                </c:pt>
                <c:pt idx="77">
                  <c:v>108.4078279777724</c:v>
                </c:pt>
                <c:pt idx="78">
                  <c:v>108.7219135056777</c:v>
                </c:pt>
                <c:pt idx="79">
                  <c:v>107.1394056535395</c:v>
                </c:pt>
                <c:pt idx="80">
                  <c:v>106.34211162116453</c:v>
                </c:pt>
                <c:pt idx="81">
                  <c:v>104.2039139888862</c:v>
                </c:pt>
                <c:pt idx="82">
                  <c:v>102.77844890070065</c:v>
                </c:pt>
                <c:pt idx="83">
                  <c:v>103.95022952403963</c:v>
                </c:pt>
                <c:pt idx="84">
                  <c:v>102.80260932592414</c:v>
                </c:pt>
                <c:pt idx="85">
                  <c:v>102.17443827011354</c:v>
                </c:pt>
                <c:pt idx="86">
                  <c:v>102.66972698719496</c:v>
                </c:pt>
                <c:pt idx="87">
                  <c:v>103.87774824836917</c:v>
                </c:pt>
                <c:pt idx="88">
                  <c:v>104.25223483933317</c:v>
                </c:pt>
                <c:pt idx="89">
                  <c:v>101.19594104856245</c:v>
                </c:pt>
                <c:pt idx="90">
                  <c:v>100.70065233148102</c:v>
                </c:pt>
                <c:pt idx="91">
                  <c:v>101.24426189900942</c:v>
                </c:pt>
                <c:pt idx="92">
                  <c:v>101.54626721430297</c:v>
                </c:pt>
                <c:pt idx="93">
                  <c:v>102.16235805750181</c:v>
                </c:pt>
                <c:pt idx="94">
                  <c:v>102.60932592413626</c:v>
                </c:pt>
                <c:pt idx="95">
                  <c:v>102.246919545784</c:v>
                </c:pt>
                <c:pt idx="96">
                  <c:v>102.48852379801885</c:v>
                </c:pt>
                <c:pt idx="97">
                  <c:v>103.21333655472336</c:v>
                </c:pt>
                <c:pt idx="98">
                  <c:v>103.11669485382942</c:v>
                </c:pt>
                <c:pt idx="99">
                  <c:v>101.71539019086737</c:v>
                </c:pt>
                <c:pt idx="100">
                  <c:v>103.34621889345253</c:v>
                </c:pt>
                <c:pt idx="101">
                  <c:v>103.70862527180478</c:v>
                </c:pt>
                <c:pt idx="102">
                  <c:v>103.32205846822905</c:v>
                </c:pt>
                <c:pt idx="103">
                  <c:v>103.58782314568735</c:v>
                </c:pt>
                <c:pt idx="104">
                  <c:v>104.08311186276877</c:v>
                </c:pt>
                <c:pt idx="105">
                  <c:v>104.96496738342596</c:v>
                </c:pt>
                <c:pt idx="106">
                  <c:v>105.72602077796569</c:v>
                </c:pt>
                <c:pt idx="107">
                  <c:v>106.34211162116453</c:v>
                </c:pt>
                <c:pt idx="108">
                  <c:v>104.82000483208505</c:v>
                </c:pt>
                <c:pt idx="109">
                  <c:v>105.41193525006041</c:v>
                </c:pt>
                <c:pt idx="110">
                  <c:v>106.94612225175165</c:v>
                </c:pt>
                <c:pt idx="111">
                  <c:v>107.0186035274221</c:v>
                </c:pt>
                <c:pt idx="112">
                  <c:v>106.65619714906983</c:v>
                </c:pt>
                <c:pt idx="113">
                  <c:v>106.86156076346943</c:v>
                </c:pt>
                <c:pt idx="114">
                  <c:v>106.93404203913988</c:v>
                </c:pt>
                <c:pt idx="115">
                  <c:v>106.26963034549408</c:v>
                </c:pt>
                <c:pt idx="116">
                  <c:v>106.68035757429331</c:v>
                </c:pt>
                <c:pt idx="117">
                  <c:v>108.33534670210196</c:v>
                </c:pt>
                <c:pt idx="118">
                  <c:v>107.90045904807923</c:v>
                </c:pt>
                <c:pt idx="119">
                  <c:v>108.54071031650156</c:v>
                </c:pt>
                <c:pt idx="120">
                  <c:v>108.27494563904322</c:v>
                </c:pt>
                <c:pt idx="121">
                  <c:v>108.02126117419665</c:v>
                </c:pt>
                <c:pt idx="122">
                  <c:v>107.41725054360958</c:v>
                </c:pt>
                <c:pt idx="123">
                  <c:v>106.95820246436338</c:v>
                </c:pt>
                <c:pt idx="124">
                  <c:v>108.37158733993716</c:v>
                </c:pt>
                <c:pt idx="125">
                  <c:v>109.42256583715873</c:v>
                </c:pt>
                <c:pt idx="126">
                  <c:v>110.02657646774583</c:v>
                </c:pt>
                <c:pt idx="127">
                  <c:v>109.42256583715873</c:v>
                </c:pt>
                <c:pt idx="128">
                  <c:v>110.49770475960376</c:v>
                </c:pt>
                <c:pt idx="129">
                  <c:v>111.4278811307079</c:v>
                </c:pt>
                <c:pt idx="130">
                  <c:v>112.09229282435371</c:v>
                </c:pt>
                <c:pt idx="131">
                  <c:v>111.28291857936701</c:v>
                </c:pt>
                <c:pt idx="132">
                  <c:v>112.12853346218891</c:v>
                </c:pt>
                <c:pt idx="133">
                  <c:v>112.08021261174197</c:v>
                </c:pt>
                <c:pt idx="134">
                  <c:v>111.57284368204881</c:v>
                </c:pt>
                <c:pt idx="135">
                  <c:v>112.52718047837642</c:v>
                </c:pt>
                <c:pt idx="136">
                  <c:v>112.86542643150521</c:v>
                </c:pt>
                <c:pt idx="137">
                  <c:v>112.30973665136506</c:v>
                </c:pt>
                <c:pt idx="138">
                  <c:v>109.21720222275913</c:v>
                </c:pt>
                <c:pt idx="139">
                  <c:v>109.4708866876057</c:v>
                </c:pt>
                <c:pt idx="140">
                  <c:v>111.18627687847307</c:v>
                </c:pt>
                <c:pt idx="141">
                  <c:v>110.43730369654506</c:v>
                </c:pt>
                <c:pt idx="142">
                  <c:v>110.159458806475</c:v>
                </c:pt>
                <c:pt idx="143">
                  <c:v>111.41580091809615</c:v>
                </c:pt>
                <c:pt idx="144">
                  <c:v>111.02923411452042</c:v>
                </c:pt>
                <c:pt idx="145">
                  <c:v>108.96351775791253</c:v>
                </c:pt>
                <c:pt idx="146">
                  <c:v>108.56487074172504</c:v>
                </c:pt>
                <c:pt idx="147">
                  <c:v>109.25344286059435</c:v>
                </c:pt>
                <c:pt idx="148">
                  <c:v>108.29910606426674</c:v>
                </c:pt>
                <c:pt idx="149">
                  <c:v>107.70717564629138</c:v>
                </c:pt>
                <c:pt idx="150">
                  <c:v>107.65885479584441</c:v>
                </c:pt>
                <c:pt idx="151">
                  <c:v>106.0763469437062</c:v>
                </c:pt>
                <c:pt idx="152">
                  <c:v>103.51534187001693</c:v>
                </c:pt>
                <c:pt idx="153">
                  <c:v>104.56632036723848</c:v>
                </c:pt>
                <c:pt idx="154">
                  <c:v>103.34621889345253</c:v>
                </c:pt>
                <c:pt idx="155">
                  <c:v>103.09253442860596</c:v>
                </c:pt>
                <c:pt idx="156">
                  <c:v>104.98912780864941</c:v>
                </c:pt>
                <c:pt idx="157">
                  <c:v>104.31263590239188</c:v>
                </c:pt>
                <c:pt idx="158">
                  <c:v>101.4375453007973</c:v>
                </c:pt>
                <c:pt idx="159">
                  <c:v>101.77579125392606</c:v>
                </c:pt>
                <c:pt idx="160">
                  <c:v>100.84561488282193</c:v>
                </c:pt>
                <c:pt idx="161">
                  <c:v>100.15704276395263</c:v>
                </c:pt>
                <c:pt idx="162">
                  <c:v>99.057743416284126</c:v>
                </c:pt>
                <c:pt idx="163">
                  <c:v>99.903358299106074</c:v>
                </c:pt>
                <c:pt idx="164">
                  <c:v>96.967866634452761</c:v>
                </c:pt>
                <c:pt idx="165">
                  <c:v>97.716839816380769</c:v>
                </c:pt>
                <c:pt idx="166">
                  <c:v>98.961101715390186</c:v>
                </c:pt>
                <c:pt idx="167">
                  <c:v>100.03624063783522</c:v>
                </c:pt>
                <c:pt idx="168">
                  <c:v>99.842957236047354</c:v>
                </c:pt>
                <c:pt idx="169">
                  <c:v>98.767818313602334</c:v>
                </c:pt>
                <c:pt idx="170">
                  <c:v>98.055085769509546</c:v>
                </c:pt>
                <c:pt idx="171">
                  <c:v>99.589272771200768</c:v>
                </c:pt>
                <c:pt idx="172">
                  <c:v>99.96375936216478</c:v>
                </c:pt>
                <c:pt idx="173">
                  <c:v>97.499395989369404</c:v>
                </c:pt>
                <c:pt idx="174">
                  <c:v>97.620198115486829</c:v>
                </c:pt>
                <c:pt idx="175">
                  <c:v>97.728920028992519</c:v>
                </c:pt>
                <c:pt idx="176">
                  <c:v>98.308770234356118</c:v>
                </c:pt>
                <c:pt idx="177">
                  <c:v>99.142304904566316</c:v>
                </c:pt>
                <c:pt idx="178">
                  <c:v>100.49528871708142</c:v>
                </c:pt>
                <c:pt idx="179">
                  <c:v>100.64025126842233</c:v>
                </c:pt>
                <c:pt idx="180">
                  <c:v>101.53418700169124</c:v>
                </c:pt>
                <c:pt idx="181">
                  <c:v>101.60666827736169</c:v>
                </c:pt>
                <c:pt idx="182">
                  <c:v>101.22010147378595</c:v>
                </c:pt>
                <c:pt idx="183">
                  <c:v>103.88982846098091</c:v>
                </c:pt>
                <c:pt idx="184">
                  <c:v>103.29789804300556</c:v>
                </c:pt>
                <c:pt idx="185">
                  <c:v>102.7301280502537</c:v>
                </c:pt>
                <c:pt idx="186">
                  <c:v>102.81468953853587</c:v>
                </c:pt>
                <c:pt idx="187">
                  <c:v>101.77579125392606</c:v>
                </c:pt>
                <c:pt idx="188">
                  <c:v>101.47378593863252</c:v>
                </c:pt>
                <c:pt idx="189">
                  <c:v>99.613433196424253</c:v>
                </c:pt>
                <c:pt idx="190">
                  <c:v>98.816139164049275</c:v>
                </c:pt>
                <c:pt idx="191">
                  <c:v>98.006764919062576</c:v>
                </c:pt>
                <c:pt idx="192">
                  <c:v>97.970524281227341</c:v>
                </c:pt>
                <c:pt idx="193">
                  <c:v>98.296690021744382</c:v>
                </c:pt>
                <c:pt idx="194">
                  <c:v>99.770475960376899</c:v>
                </c:pt>
                <c:pt idx="195">
                  <c:v>99.371828944189417</c:v>
                </c:pt>
                <c:pt idx="196">
                  <c:v>100.55568978014013</c:v>
                </c:pt>
                <c:pt idx="197">
                  <c:v>101.65498912780866</c:v>
                </c:pt>
                <c:pt idx="198">
                  <c:v>101.76371104131432</c:v>
                </c:pt>
                <c:pt idx="199">
                  <c:v>101.18386083595072</c:v>
                </c:pt>
                <c:pt idx="200">
                  <c:v>102.63348634935974</c:v>
                </c:pt>
                <c:pt idx="201">
                  <c:v>101.89659338004348</c:v>
                </c:pt>
                <c:pt idx="202">
                  <c:v>101.47378593863252</c:v>
                </c:pt>
                <c:pt idx="203">
                  <c:v>101.55834742691469</c:v>
                </c:pt>
                <c:pt idx="204">
                  <c:v>101.57042763952646</c:v>
                </c:pt>
                <c:pt idx="205">
                  <c:v>101.86035274220826</c:v>
                </c:pt>
                <c:pt idx="206">
                  <c:v>102.06571635660787</c:v>
                </c:pt>
                <c:pt idx="207">
                  <c:v>103.11669485382942</c:v>
                </c:pt>
                <c:pt idx="208">
                  <c:v>103.96230973665138</c:v>
                </c:pt>
                <c:pt idx="209">
                  <c:v>103.67238463396956</c:v>
                </c:pt>
                <c:pt idx="210">
                  <c:v>105.31529354916647</c:v>
                </c:pt>
                <c:pt idx="211">
                  <c:v>105.6414592896835</c:v>
                </c:pt>
                <c:pt idx="212">
                  <c:v>105.06160908431987</c:v>
                </c:pt>
                <c:pt idx="213">
                  <c:v>106.31795119594105</c:v>
                </c:pt>
                <c:pt idx="214">
                  <c:v>106.89780140130465</c:v>
                </c:pt>
                <c:pt idx="215">
                  <c:v>106.30587098332931</c:v>
                </c:pt>
                <c:pt idx="216">
                  <c:v>106.89780140130465</c:v>
                </c:pt>
                <c:pt idx="217">
                  <c:v>107.84005798502052</c:v>
                </c:pt>
                <c:pt idx="218">
                  <c:v>107.98502053636143</c:v>
                </c:pt>
                <c:pt idx="219">
                  <c:v>106.80115970041074</c:v>
                </c:pt>
                <c:pt idx="220">
                  <c:v>105.47233631311911</c:v>
                </c:pt>
                <c:pt idx="221">
                  <c:v>104.10727228799229</c:v>
                </c:pt>
                <c:pt idx="222">
                  <c:v>104.84416525730853</c:v>
                </c:pt>
                <c:pt idx="223">
                  <c:v>105.46025610050735</c:v>
                </c:pt>
                <c:pt idx="224">
                  <c:v>105.71394056535395</c:v>
                </c:pt>
                <c:pt idx="225">
                  <c:v>106.34211162116453</c:v>
                </c:pt>
                <c:pt idx="226">
                  <c:v>107.1394056535395</c:v>
                </c:pt>
                <c:pt idx="227">
                  <c:v>105.66561971490698</c:v>
                </c:pt>
                <c:pt idx="228">
                  <c:v>105.73810099057744</c:v>
                </c:pt>
                <c:pt idx="229">
                  <c:v>105.71394056535395</c:v>
                </c:pt>
                <c:pt idx="230">
                  <c:v>103.97438994926308</c:v>
                </c:pt>
                <c:pt idx="231">
                  <c:v>104.36095675283885</c:v>
                </c:pt>
                <c:pt idx="232">
                  <c:v>104.39719739067408</c:v>
                </c:pt>
                <c:pt idx="233">
                  <c:v>105.94346460497705</c:v>
                </c:pt>
                <c:pt idx="234">
                  <c:v>104.55424015462671</c:v>
                </c:pt>
                <c:pt idx="235">
                  <c:v>105.24281227349601</c:v>
                </c:pt>
                <c:pt idx="236">
                  <c:v>106.37835225899977</c:v>
                </c:pt>
                <c:pt idx="237">
                  <c:v>107.04276395264556</c:v>
                </c:pt>
                <c:pt idx="238">
                  <c:v>108.6373520173955</c:v>
                </c:pt>
                <c:pt idx="239">
                  <c:v>108.56487074172504</c:v>
                </c:pt>
                <c:pt idx="240">
                  <c:v>107.87629862285574</c:v>
                </c:pt>
                <c:pt idx="241">
                  <c:v>108.09374244986711</c:v>
                </c:pt>
                <c:pt idx="242">
                  <c:v>108.70983329306596</c:v>
                </c:pt>
                <c:pt idx="243">
                  <c:v>110.31650157042763</c:v>
                </c:pt>
                <c:pt idx="244">
                  <c:v>110.69098816139163</c:v>
                </c:pt>
                <c:pt idx="245">
                  <c:v>109.83329306595797</c:v>
                </c:pt>
                <c:pt idx="246">
                  <c:v>108.92727712007731</c:v>
                </c:pt>
                <c:pt idx="247">
                  <c:v>109.82121285334621</c:v>
                </c:pt>
                <c:pt idx="248">
                  <c:v>109.89369412901667</c:v>
                </c:pt>
                <c:pt idx="249">
                  <c:v>110.21985986953369</c:v>
                </c:pt>
                <c:pt idx="250">
                  <c:v>110.46146412176854</c:v>
                </c:pt>
                <c:pt idx="251">
                  <c:v>110.48562454699203</c:v>
                </c:pt>
                <c:pt idx="252">
                  <c:v>110.44938390915682</c:v>
                </c:pt>
                <c:pt idx="253">
                  <c:v>112.00773133607152</c:v>
                </c:pt>
                <c:pt idx="254">
                  <c:v>111.50036240637834</c:v>
                </c:pt>
                <c:pt idx="255">
                  <c:v>112.10437303696546</c:v>
                </c:pt>
                <c:pt idx="256">
                  <c:v>112.04397197390674</c:v>
                </c:pt>
                <c:pt idx="257">
                  <c:v>112.41845856487073</c:v>
                </c:pt>
                <c:pt idx="258">
                  <c:v>112.45469920270597</c:v>
                </c:pt>
                <c:pt idx="259">
                  <c:v>112.93790770717564</c:v>
                </c:pt>
                <c:pt idx="260">
                  <c:v>114.15800918096157</c:v>
                </c:pt>
                <c:pt idx="261">
                  <c:v>114.44793428364339</c:v>
                </c:pt>
                <c:pt idx="262">
                  <c:v>115.13650640251269</c:v>
                </c:pt>
                <c:pt idx="263">
                  <c:v>115.69219618265281</c:v>
                </c:pt>
                <c:pt idx="264">
                  <c:v>114.99154385117178</c:v>
                </c:pt>
                <c:pt idx="265">
                  <c:v>115.89755979705242</c:v>
                </c:pt>
                <c:pt idx="266">
                  <c:v>117.03309978255616</c:v>
                </c:pt>
                <c:pt idx="267">
                  <c:v>116.97269871949747</c:v>
                </c:pt>
                <c:pt idx="268">
                  <c:v>116.4049287267456</c:v>
                </c:pt>
                <c:pt idx="269">
                  <c:v>117.10558105822662</c:v>
                </c:pt>
                <c:pt idx="270">
                  <c:v>116.98477893210921</c:v>
                </c:pt>
                <c:pt idx="271">
                  <c:v>116.85189659338005</c:v>
                </c:pt>
                <c:pt idx="272">
                  <c:v>117.23846339695578</c:v>
                </c:pt>
                <c:pt idx="273">
                  <c:v>118.84513167431746</c:v>
                </c:pt>
                <c:pt idx="274">
                  <c:v>118.1928001932834</c:v>
                </c:pt>
                <c:pt idx="275">
                  <c:v>116.91229765643875</c:v>
                </c:pt>
                <c:pt idx="276">
                  <c:v>117.21430297173229</c:v>
                </c:pt>
                <c:pt idx="277">
                  <c:v>117.33510509784972</c:v>
                </c:pt>
                <c:pt idx="278">
                  <c:v>118.65184827252959</c:v>
                </c:pt>
                <c:pt idx="279">
                  <c:v>118.54312635902392</c:v>
                </c:pt>
                <c:pt idx="280">
                  <c:v>118.15655955544817</c:v>
                </c:pt>
                <c:pt idx="281">
                  <c:v>120.48804058951437</c:v>
                </c:pt>
                <c:pt idx="282">
                  <c:v>121.8772650398647</c:v>
                </c:pt>
                <c:pt idx="283">
                  <c:v>122.74704034791013</c:v>
                </c:pt>
                <c:pt idx="284">
                  <c:v>122.97656438753322</c:v>
                </c:pt>
                <c:pt idx="285">
                  <c:v>122.34839333172265</c:v>
                </c:pt>
                <c:pt idx="286">
                  <c:v>122.42087460739309</c:v>
                </c:pt>
                <c:pt idx="287">
                  <c:v>118.89345252476444</c:v>
                </c:pt>
                <c:pt idx="288">
                  <c:v>118.92969316259968</c:v>
                </c:pt>
                <c:pt idx="289">
                  <c:v>117.00893935733269</c:v>
                </c:pt>
                <c:pt idx="290">
                  <c:v>115.60763469437063</c:v>
                </c:pt>
                <c:pt idx="291">
                  <c:v>117.34718531046147</c:v>
                </c:pt>
                <c:pt idx="292">
                  <c:v>117.89079487798986</c:v>
                </c:pt>
                <c:pt idx="293">
                  <c:v>118.55520657163565</c:v>
                </c:pt>
                <c:pt idx="294">
                  <c:v>117.3592655230732</c:v>
                </c:pt>
                <c:pt idx="295">
                  <c:v>117.40758637352018</c:v>
                </c:pt>
                <c:pt idx="296">
                  <c:v>118.03575742933074</c:v>
                </c:pt>
                <c:pt idx="297">
                  <c:v>116.9243778690505</c:v>
                </c:pt>
                <c:pt idx="298">
                  <c:v>117.55254892486109</c:v>
                </c:pt>
                <c:pt idx="299">
                  <c:v>116.46532978980429</c:v>
                </c:pt>
                <c:pt idx="300">
                  <c:v>117.21430297173229</c:v>
                </c:pt>
                <c:pt idx="301">
                  <c:v>118.57936699685914</c:v>
                </c:pt>
                <c:pt idx="302">
                  <c:v>119.29209954095192</c:v>
                </c:pt>
                <c:pt idx="303">
                  <c:v>119.5457840057985</c:v>
                </c:pt>
                <c:pt idx="304">
                  <c:v>119.78738825803335</c:v>
                </c:pt>
                <c:pt idx="305">
                  <c:v>118.83305146170574</c:v>
                </c:pt>
                <c:pt idx="306">
                  <c:v>118.65184827252959</c:v>
                </c:pt>
                <c:pt idx="307">
                  <c:v>118.78473061125877</c:v>
                </c:pt>
                <c:pt idx="308">
                  <c:v>120.36723846339696</c:v>
                </c:pt>
                <c:pt idx="309">
                  <c:v>121.22493355883061</c:v>
                </c:pt>
                <c:pt idx="310">
                  <c:v>120.43971973906741</c:v>
                </c:pt>
                <c:pt idx="311">
                  <c:v>119.93235080937426</c:v>
                </c:pt>
                <c:pt idx="312">
                  <c:v>120.2343561246678</c:v>
                </c:pt>
                <c:pt idx="313">
                  <c:v>119.56994443102198</c:v>
                </c:pt>
                <c:pt idx="314">
                  <c:v>120.82628654264313</c:v>
                </c:pt>
                <c:pt idx="315">
                  <c:v>120.85044696786665</c:v>
                </c:pt>
                <c:pt idx="316">
                  <c:v>120.68132399130225</c:v>
                </c:pt>
                <c:pt idx="317">
                  <c:v>120.68132399130225</c:v>
                </c:pt>
                <c:pt idx="318">
                  <c:v>119.67866634452766</c:v>
                </c:pt>
                <c:pt idx="319">
                  <c:v>119.38874124184586</c:v>
                </c:pt>
                <c:pt idx="320">
                  <c:v>120.45179995167913</c:v>
                </c:pt>
                <c:pt idx="321">
                  <c:v>120.79004590480791</c:v>
                </c:pt>
                <c:pt idx="322">
                  <c:v>120.79004590480791</c:v>
                </c:pt>
                <c:pt idx="323">
                  <c:v>122.3967141821696</c:v>
                </c:pt>
                <c:pt idx="324">
                  <c:v>123.50809374244986</c:v>
                </c:pt>
                <c:pt idx="325">
                  <c:v>122.37255375694612</c:v>
                </c:pt>
                <c:pt idx="326">
                  <c:v>122.92824353708627</c:v>
                </c:pt>
                <c:pt idx="327">
                  <c:v>122.69871949746314</c:v>
                </c:pt>
                <c:pt idx="328">
                  <c:v>121.91350567769992</c:v>
                </c:pt>
                <c:pt idx="329">
                  <c:v>122.03430780381734</c:v>
                </c:pt>
                <c:pt idx="330">
                  <c:v>122.98864460014497</c:v>
                </c:pt>
                <c:pt idx="331">
                  <c:v>123.64097608117901</c:v>
                </c:pt>
                <c:pt idx="332">
                  <c:v>122.92824353708627</c:v>
                </c:pt>
                <c:pt idx="333">
                  <c:v>121.55109929934767</c:v>
                </c:pt>
                <c:pt idx="334">
                  <c:v>121.8772650398647</c:v>
                </c:pt>
                <c:pt idx="335">
                  <c:v>123.56849480550858</c:v>
                </c:pt>
                <c:pt idx="336">
                  <c:v>121.09205122010147</c:v>
                </c:pt>
                <c:pt idx="337">
                  <c:v>120.2343561246678</c:v>
                </c:pt>
                <c:pt idx="338">
                  <c:v>120.25851654989128</c:v>
                </c:pt>
                <c:pt idx="339">
                  <c:v>120.70548441652574</c:v>
                </c:pt>
                <c:pt idx="340">
                  <c:v>121.26117419666585</c:v>
                </c:pt>
                <c:pt idx="341">
                  <c:v>121.61150036240637</c:v>
                </c:pt>
                <c:pt idx="342">
                  <c:v>121.3336554723363</c:v>
                </c:pt>
                <c:pt idx="343">
                  <c:v>120.80212611741968</c:v>
                </c:pt>
                <c:pt idx="344">
                  <c:v>121.21285334621889</c:v>
                </c:pt>
                <c:pt idx="345">
                  <c:v>122.38463396955785</c:v>
                </c:pt>
                <c:pt idx="346">
                  <c:v>122.37255375694612</c:v>
                </c:pt>
                <c:pt idx="347">
                  <c:v>122.42087460739309</c:v>
                </c:pt>
                <c:pt idx="348">
                  <c:v>122.33631311911088</c:v>
                </c:pt>
                <c:pt idx="349">
                  <c:v>122.52959652089876</c:v>
                </c:pt>
                <c:pt idx="350">
                  <c:v>121.10413143271322</c:v>
                </c:pt>
                <c:pt idx="351">
                  <c:v>120.08939357332689</c:v>
                </c:pt>
                <c:pt idx="352">
                  <c:v>119.72698719497463</c:v>
                </c:pt>
                <c:pt idx="353">
                  <c:v>121.80478376419424</c:v>
                </c:pt>
                <c:pt idx="354">
                  <c:v>121.67190142546509</c:v>
                </c:pt>
                <c:pt idx="355">
                  <c:v>122.17927035515825</c:v>
                </c:pt>
                <c:pt idx="356">
                  <c:v>123.07320608842716</c:v>
                </c:pt>
                <c:pt idx="357">
                  <c:v>123.3993718289442</c:v>
                </c:pt>
                <c:pt idx="358">
                  <c:v>123.87050012080213</c:v>
                </c:pt>
                <c:pt idx="359">
                  <c:v>121.38197632278329</c:v>
                </c:pt>
                <c:pt idx="360">
                  <c:v>120.87460739309013</c:v>
                </c:pt>
                <c:pt idx="361">
                  <c:v>119.87194974631554</c:v>
                </c:pt>
                <c:pt idx="362">
                  <c:v>120.94708866876059</c:v>
                </c:pt>
                <c:pt idx="363">
                  <c:v>121.76854312635901</c:v>
                </c:pt>
                <c:pt idx="364">
                  <c:v>123.42353225416767</c:v>
                </c:pt>
                <c:pt idx="365">
                  <c:v>122.11886929209955</c:v>
                </c:pt>
                <c:pt idx="366">
                  <c:v>122.34839333172265</c:v>
                </c:pt>
                <c:pt idx="367">
                  <c:v>123.62889586856728</c:v>
                </c:pt>
                <c:pt idx="368">
                  <c:v>122.85576226141582</c:v>
                </c:pt>
                <c:pt idx="369">
                  <c:v>122.89200289925104</c:v>
                </c:pt>
                <c:pt idx="370">
                  <c:v>123.42353225416767</c:v>
                </c:pt>
                <c:pt idx="371">
                  <c:v>121.69606185068858</c:v>
                </c:pt>
                <c:pt idx="372">
                  <c:v>120.76588547958444</c:v>
                </c:pt>
                <c:pt idx="373">
                  <c:v>117.84247402754289</c:v>
                </c:pt>
                <c:pt idx="374">
                  <c:v>112.34597728920028</c:v>
                </c:pt>
                <c:pt idx="375">
                  <c:v>116.2358057501812</c:v>
                </c:pt>
                <c:pt idx="376">
                  <c:v>115.402271079971</c:v>
                </c:pt>
                <c:pt idx="377">
                  <c:v>115.48683256825318</c:v>
                </c:pt>
                <c:pt idx="378">
                  <c:v>116.01836192316985</c:v>
                </c:pt>
                <c:pt idx="379">
                  <c:v>118.59144720947089</c:v>
                </c:pt>
                <c:pt idx="380">
                  <c:v>118.65184827252959</c:v>
                </c:pt>
                <c:pt idx="381">
                  <c:v>118.68808891036483</c:v>
                </c:pt>
                <c:pt idx="382">
                  <c:v>119.6061850688572</c:v>
                </c:pt>
                <c:pt idx="383">
                  <c:v>119.08673592655231</c:v>
                </c:pt>
                <c:pt idx="384">
                  <c:v>118.84513167431746</c:v>
                </c:pt>
                <c:pt idx="385">
                  <c:v>119.88402995892726</c:v>
                </c:pt>
                <c:pt idx="386">
                  <c:v>120.47596037690265</c:v>
                </c:pt>
                <c:pt idx="387">
                  <c:v>120.00483208504471</c:v>
                </c:pt>
                <c:pt idx="388">
                  <c:v>120.64508335346702</c:v>
                </c:pt>
                <c:pt idx="389">
                  <c:v>119.81154868325683</c:v>
                </c:pt>
                <c:pt idx="390">
                  <c:v>119.52162358057501</c:v>
                </c:pt>
                <c:pt idx="391">
                  <c:v>119.79946847064508</c:v>
                </c:pt>
                <c:pt idx="392">
                  <c:v>120.82628654264313</c:v>
                </c:pt>
                <c:pt idx="393">
                  <c:v>120.45179995167913</c:v>
                </c:pt>
                <c:pt idx="394">
                  <c:v>119.53370379318675</c:v>
                </c:pt>
                <c:pt idx="395">
                  <c:v>120.60884271563179</c:v>
                </c:pt>
                <c:pt idx="396">
                  <c:v>121.17661270838367</c:v>
                </c:pt>
                <c:pt idx="397">
                  <c:v>120.69340420391399</c:v>
                </c:pt>
                <c:pt idx="398">
                  <c:v>120.58468229040831</c:v>
                </c:pt>
                <c:pt idx="399">
                  <c:v>119.3766610292341</c:v>
                </c:pt>
                <c:pt idx="400">
                  <c:v>121.18869292099539</c:v>
                </c:pt>
                <c:pt idx="401">
                  <c:v>122.60207779656922</c:v>
                </c:pt>
                <c:pt idx="402">
                  <c:v>121.21285334621889</c:v>
                </c:pt>
                <c:pt idx="403">
                  <c:v>120.97124909398404</c:v>
                </c:pt>
                <c:pt idx="404">
                  <c:v>121.85310461464123</c:v>
                </c:pt>
                <c:pt idx="405">
                  <c:v>122.16719014254652</c:v>
                </c:pt>
                <c:pt idx="406">
                  <c:v>123.02488523798019</c:v>
                </c:pt>
                <c:pt idx="407">
                  <c:v>122.60207779656922</c:v>
                </c:pt>
                <c:pt idx="408">
                  <c:v>121.82894418941773</c:v>
                </c:pt>
                <c:pt idx="409">
                  <c:v>121.98598695337037</c:v>
                </c:pt>
                <c:pt idx="410">
                  <c:v>120.99540951920753</c:v>
                </c:pt>
                <c:pt idx="411">
                  <c:v>121.14037207054844</c:v>
                </c:pt>
                <c:pt idx="412">
                  <c:v>121.49069823628895</c:v>
                </c:pt>
                <c:pt idx="413">
                  <c:v>121.64774100024161</c:v>
                </c:pt>
                <c:pt idx="414">
                  <c:v>120.2343561246678</c:v>
                </c:pt>
                <c:pt idx="415">
                  <c:v>120.19811548683256</c:v>
                </c:pt>
                <c:pt idx="416">
                  <c:v>118.71224933558831</c:v>
                </c:pt>
                <c:pt idx="417">
                  <c:v>118.13239913022471</c:v>
                </c:pt>
                <c:pt idx="418">
                  <c:v>119.14713698961101</c:v>
                </c:pt>
                <c:pt idx="419">
                  <c:v>118.39816380768302</c:v>
                </c:pt>
                <c:pt idx="420">
                  <c:v>118.45856487074174</c:v>
                </c:pt>
                <c:pt idx="421">
                  <c:v>115.83715873399372</c:v>
                </c:pt>
                <c:pt idx="422">
                  <c:v>115.89755979705242</c:v>
                </c:pt>
                <c:pt idx="423">
                  <c:v>115.31770959168881</c:v>
                </c:pt>
                <c:pt idx="424">
                  <c:v>116.71901425465087</c:v>
                </c:pt>
                <c:pt idx="425">
                  <c:v>117.0935008456149</c:v>
                </c:pt>
                <c:pt idx="426">
                  <c:v>117.05726020777966</c:v>
                </c:pt>
                <c:pt idx="427">
                  <c:v>119.05049528871707</c:v>
                </c:pt>
                <c:pt idx="428">
                  <c:v>119.72698719497463</c:v>
                </c:pt>
                <c:pt idx="429">
                  <c:v>118.07199806716598</c:v>
                </c:pt>
                <c:pt idx="430">
                  <c:v>117.84247402754289</c:v>
                </c:pt>
                <c:pt idx="431">
                  <c:v>117.55254892486109</c:v>
                </c:pt>
                <c:pt idx="432">
                  <c:v>117.96327615366032</c:v>
                </c:pt>
                <c:pt idx="433">
                  <c:v>117.89079487798986</c:v>
                </c:pt>
                <c:pt idx="434">
                  <c:v>117.0935008456149</c:v>
                </c:pt>
                <c:pt idx="435">
                  <c:v>116.73109446726262</c:v>
                </c:pt>
                <c:pt idx="436">
                  <c:v>116.18748489973424</c:v>
                </c:pt>
                <c:pt idx="437">
                  <c:v>117.27470403479101</c:v>
                </c:pt>
                <c:pt idx="438">
                  <c:v>116.93645808166224</c:v>
                </c:pt>
                <c:pt idx="439">
                  <c:v>114.94322300072481</c:v>
                </c:pt>
                <c:pt idx="440">
                  <c:v>114.37545300797294</c:v>
                </c:pt>
                <c:pt idx="441">
                  <c:v>113.60231940082146</c:v>
                </c:pt>
                <c:pt idx="442">
                  <c:v>114.93114278811308</c:v>
                </c:pt>
                <c:pt idx="443">
                  <c:v>115.81299830877023</c:v>
                </c:pt>
                <c:pt idx="444">
                  <c:v>115.41435129258275</c:v>
                </c:pt>
                <c:pt idx="445">
                  <c:v>117.21430297173229</c:v>
                </c:pt>
                <c:pt idx="446">
                  <c:v>116.52573085286299</c:v>
                </c:pt>
                <c:pt idx="447">
                  <c:v>116.96061850688571</c:v>
                </c:pt>
                <c:pt idx="448">
                  <c:v>118.01159700410726</c:v>
                </c:pt>
                <c:pt idx="449">
                  <c:v>119.34042039139889</c:v>
                </c:pt>
                <c:pt idx="450">
                  <c:v>119.84778932109204</c:v>
                </c:pt>
                <c:pt idx="451">
                  <c:v>121.53901908673592</c:v>
                </c:pt>
                <c:pt idx="452">
                  <c:v>121.43029717323024</c:v>
                </c:pt>
                <c:pt idx="453">
                  <c:v>121.79270355158249</c:v>
                </c:pt>
                <c:pt idx="454">
                  <c:v>121.68398163807683</c:v>
                </c:pt>
                <c:pt idx="455">
                  <c:v>122.37255375694612</c:v>
                </c:pt>
                <c:pt idx="456">
                  <c:v>121.62358057501812</c:v>
                </c:pt>
                <c:pt idx="457">
                  <c:v>119.72698719497463</c:v>
                </c:pt>
                <c:pt idx="458">
                  <c:v>121.24909398405413</c:v>
                </c:pt>
                <c:pt idx="459">
                  <c:v>121.15245228316019</c:v>
                </c:pt>
                <c:pt idx="460">
                  <c:v>121.47861802367721</c:v>
                </c:pt>
                <c:pt idx="461">
                  <c:v>121.16453249577192</c:v>
                </c:pt>
                <c:pt idx="462">
                  <c:v>121.03165015704276</c:v>
                </c:pt>
                <c:pt idx="463">
                  <c:v>121.90142546508818</c:v>
                </c:pt>
                <c:pt idx="464">
                  <c:v>121.79270355158249</c:v>
                </c:pt>
                <c:pt idx="465">
                  <c:v>123.36313119110898</c:v>
                </c:pt>
                <c:pt idx="466">
                  <c:v>122.04638801642909</c:v>
                </c:pt>
                <c:pt idx="467">
                  <c:v>122.940323749698</c:v>
                </c:pt>
                <c:pt idx="468">
                  <c:v>122.87992268663928</c:v>
                </c:pt>
                <c:pt idx="469">
                  <c:v>121.9376661029234</c:v>
                </c:pt>
                <c:pt idx="470">
                  <c:v>121.30949504711283</c:v>
                </c:pt>
                <c:pt idx="471">
                  <c:v>122.92824353708627</c:v>
                </c:pt>
                <c:pt idx="472">
                  <c:v>121.16453249577192</c:v>
                </c:pt>
                <c:pt idx="473">
                  <c:v>119.35250060401063</c:v>
                </c:pt>
                <c:pt idx="474">
                  <c:v>117.32302488523798</c:v>
                </c:pt>
                <c:pt idx="475">
                  <c:v>113.75936216477409</c:v>
                </c:pt>
                <c:pt idx="476">
                  <c:v>110.82387050012079</c:v>
                </c:pt>
                <c:pt idx="477">
                  <c:v>108.8427156317951</c:v>
                </c:pt>
                <c:pt idx="478">
                  <c:v>110.64266731094467</c:v>
                </c:pt>
                <c:pt idx="479">
                  <c:v>111.8627687847306</c:v>
                </c:pt>
                <c:pt idx="480">
                  <c:v>110.03865668035758</c:v>
                </c:pt>
                <c:pt idx="481">
                  <c:v>111.64532495771925</c:v>
                </c:pt>
                <c:pt idx="482">
                  <c:v>112.04397197390674</c:v>
                </c:pt>
                <c:pt idx="483">
                  <c:v>111.93525006040106</c:v>
                </c:pt>
                <c:pt idx="484">
                  <c:v>110.18361923169846</c:v>
                </c:pt>
                <c:pt idx="485">
                  <c:v>107.47765160666827</c:v>
                </c:pt>
                <c:pt idx="486">
                  <c:v>106.39043247161149</c:v>
                </c:pt>
                <c:pt idx="487">
                  <c:v>108.34742691471368</c:v>
                </c:pt>
                <c:pt idx="488">
                  <c:v>106.93404203913988</c:v>
                </c:pt>
                <c:pt idx="489">
                  <c:v>107.64677458323266</c:v>
                </c:pt>
                <c:pt idx="490">
                  <c:v>107.96086011113798</c:v>
                </c:pt>
                <c:pt idx="491">
                  <c:v>109.0964000966417</c:v>
                </c:pt>
                <c:pt idx="492">
                  <c:v>110.19569944431022</c:v>
                </c:pt>
                <c:pt idx="493">
                  <c:v>111.36748006764918</c:v>
                </c:pt>
                <c:pt idx="494">
                  <c:v>111.52452283160184</c:v>
                </c:pt>
                <c:pt idx="495">
                  <c:v>110.72722879922685</c:v>
                </c:pt>
                <c:pt idx="496">
                  <c:v>108.04542159942014</c:v>
                </c:pt>
                <c:pt idx="497">
                  <c:v>106.72867842474028</c:v>
                </c:pt>
                <c:pt idx="498">
                  <c:v>108.7219135056777</c:v>
                </c:pt>
                <c:pt idx="499">
                  <c:v>108.8427156317951</c:v>
                </c:pt>
                <c:pt idx="500">
                  <c:v>107.90045904807923</c:v>
                </c:pt>
                <c:pt idx="501">
                  <c:v>106.23338970765886</c:v>
                </c:pt>
                <c:pt idx="502">
                  <c:v>106.08842715631795</c:v>
                </c:pt>
                <c:pt idx="503">
                  <c:v>105.18241121043729</c:v>
                </c:pt>
                <c:pt idx="504">
                  <c:v>106.31795119594105</c:v>
                </c:pt>
                <c:pt idx="505">
                  <c:v>108.09374244986711</c:v>
                </c:pt>
                <c:pt idx="506">
                  <c:v>106.80115970041074</c:v>
                </c:pt>
                <c:pt idx="507">
                  <c:v>106.24546992027059</c:v>
                </c:pt>
                <c:pt idx="508">
                  <c:v>106.74075863735202</c:v>
                </c:pt>
                <c:pt idx="509">
                  <c:v>103.11669485382942</c:v>
                </c:pt>
                <c:pt idx="510">
                  <c:v>101.98115486832569</c:v>
                </c:pt>
                <c:pt idx="511">
                  <c:v>99.492631070306842</c:v>
                </c:pt>
                <c:pt idx="512">
                  <c:v>102.51268422324233</c:v>
                </c:pt>
                <c:pt idx="513">
                  <c:v>103.03213336554724</c:v>
                </c:pt>
                <c:pt idx="514">
                  <c:v>103.20125634211163</c:v>
                </c:pt>
                <c:pt idx="515">
                  <c:v>102.36772167190142</c:v>
                </c:pt>
                <c:pt idx="516">
                  <c:v>100.45904807924619</c:v>
                </c:pt>
                <c:pt idx="517">
                  <c:v>98.610775549649659</c:v>
                </c:pt>
                <c:pt idx="518">
                  <c:v>97.692679391157284</c:v>
                </c:pt>
                <c:pt idx="519">
                  <c:v>99.734235322541679</c:v>
                </c:pt>
                <c:pt idx="520">
                  <c:v>101.22010147378595</c:v>
                </c:pt>
                <c:pt idx="521">
                  <c:v>101.52210678907949</c:v>
                </c:pt>
                <c:pt idx="522">
                  <c:v>103.09253442860596</c:v>
                </c:pt>
                <c:pt idx="523">
                  <c:v>103.87774824836917</c:v>
                </c:pt>
                <c:pt idx="524">
                  <c:v>105.19449142304904</c:v>
                </c:pt>
                <c:pt idx="525">
                  <c:v>104.03479101232182</c:v>
                </c:pt>
                <c:pt idx="526">
                  <c:v>106.06426673109446</c:v>
                </c:pt>
                <c:pt idx="527">
                  <c:v>103.5636627204639</c:v>
                </c:pt>
                <c:pt idx="528">
                  <c:v>104.08311186276877</c:v>
                </c:pt>
                <c:pt idx="529">
                  <c:v>102.22275912056054</c:v>
                </c:pt>
                <c:pt idx="530">
                  <c:v>102.51268422324233</c:v>
                </c:pt>
                <c:pt idx="531">
                  <c:v>105.01328823387293</c:v>
                </c:pt>
                <c:pt idx="532">
                  <c:v>105.59313843923653</c:v>
                </c:pt>
                <c:pt idx="533">
                  <c:v>105.76226141580092</c:v>
                </c:pt>
                <c:pt idx="534">
                  <c:v>107.97294032374968</c:v>
                </c:pt>
                <c:pt idx="535">
                  <c:v>109.82121285334621</c:v>
                </c:pt>
                <c:pt idx="536">
                  <c:v>107.64677458323266</c:v>
                </c:pt>
                <c:pt idx="537">
                  <c:v>106.1609084319884</c:v>
                </c:pt>
                <c:pt idx="538">
                  <c:v>105.93138439236529</c:v>
                </c:pt>
                <c:pt idx="539">
                  <c:v>105.35153418700168</c:v>
                </c:pt>
                <c:pt idx="540">
                  <c:v>107.42933075622132</c:v>
                </c:pt>
                <c:pt idx="541">
                  <c:v>107.0186035274221</c:v>
                </c:pt>
                <c:pt idx="542">
                  <c:v>106.14882821937665</c:v>
                </c:pt>
                <c:pt idx="543">
                  <c:v>107.0186035274221</c:v>
                </c:pt>
                <c:pt idx="544">
                  <c:v>103.85358782314569</c:v>
                </c:pt>
                <c:pt idx="545">
                  <c:v>104.5784005798502</c:v>
                </c:pt>
                <c:pt idx="546">
                  <c:v>106.01594588064751</c:v>
                </c:pt>
                <c:pt idx="547">
                  <c:v>105.3273737617782</c:v>
                </c:pt>
                <c:pt idx="548">
                  <c:v>103.7690263348635</c:v>
                </c:pt>
                <c:pt idx="549">
                  <c:v>103.78110654747523</c:v>
                </c:pt>
                <c:pt idx="550">
                  <c:v>101.98115486832569</c:v>
                </c:pt>
                <c:pt idx="551">
                  <c:v>100.86977530804542</c:v>
                </c:pt>
                <c:pt idx="552">
                  <c:v>100.85769509543367</c:v>
                </c:pt>
                <c:pt idx="553">
                  <c:v>99.456390432471608</c:v>
                </c:pt>
                <c:pt idx="554">
                  <c:v>99.178545542401537</c:v>
                </c:pt>
                <c:pt idx="555">
                  <c:v>98.248369171297412</c:v>
                </c:pt>
                <c:pt idx="556">
                  <c:v>99.540951920753812</c:v>
                </c:pt>
                <c:pt idx="557">
                  <c:v>101.29258274945639</c:v>
                </c:pt>
                <c:pt idx="558">
                  <c:v>100.51944914230491</c:v>
                </c:pt>
                <c:pt idx="559">
                  <c:v>103.55158250785212</c:v>
                </c:pt>
                <c:pt idx="560">
                  <c:v>103.55158250785212</c:v>
                </c:pt>
                <c:pt idx="561">
                  <c:v>103.52742208262866</c:v>
                </c:pt>
                <c:pt idx="562">
                  <c:v>102.37980188451317</c:v>
                </c:pt>
                <c:pt idx="563">
                  <c:v>103.62406378352259</c:v>
                </c:pt>
                <c:pt idx="564">
                  <c:v>102.98381251510027</c:v>
                </c:pt>
                <c:pt idx="565">
                  <c:v>101.28050253684464</c:v>
                </c:pt>
                <c:pt idx="566">
                  <c:v>101.41338487557381</c:v>
                </c:pt>
                <c:pt idx="567">
                  <c:v>100.15704276395263</c:v>
                </c:pt>
                <c:pt idx="568">
                  <c:v>99.299347668518962</c:v>
                </c:pt>
                <c:pt idx="569">
                  <c:v>97.547716839816374</c:v>
                </c:pt>
                <c:pt idx="570">
                  <c:v>98.441652573085278</c:v>
                </c:pt>
                <c:pt idx="571">
                  <c:v>96.992027059676261</c:v>
                </c:pt>
                <c:pt idx="572">
                  <c:v>97.281952162358053</c:v>
                </c:pt>
                <c:pt idx="573">
                  <c:v>98.610775549649659</c:v>
                </c:pt>
                <c:pt idx="574">
                  <c:v>98.236288958685662</c:v>
                </c:pt>
                <c:pt idx="575">
                  <c:v>98.84029958927276</c:v>
                </c:pt>
                <c:pt idx="576">
                  <c:v>98.465812998308778</c:v>
                </c:pt>
                <c:pt idx="577">
                  <c:v>97.982604493839091</c:v>
                </c:pt>
                <c:pt idx="578">
                  <c:v>98.043005556897796</c:v>
                </c:pt>
                <c:pt idx="579">
                  <c:v>99.142304904566316</c:v>
                </c:pt>
                <c:pt idx="580">
                  <c:v>99.045663203672376</c:v>
                </c:pt>
                <c:pt idx="581">
                  <c:v>100.09664170089394</c:v>
                </c:pt>
                <c:pt idx="582">
                  <c:v>100.51944914230491</c:v>
                </c:pt>
                <c:pt idx="583">
                  <c:v>99.577192558589033</c:v>
                </c:pt>
                <c:pt idx="584">
                  <c:v>98.88862043971973</c:v>
                </c:pt>
                <c:pt idx="585">
                  <c:v>99.685914472094709</c:v>
                </c:pt>
                <c:pt idx="586">
                  <c:v>101.17178062333898</c:v>
                </c:pt>
                <c:pt idx="587">
                  <c:v>101.30466296206812</c:v>
                </c:pt>
                <c:pt idx="588">
                  <c:v>101.15970041072721</c:v>
                </c:pt>
                <c:pt idx="589">
                  <c:v>101.44962551340903</c:v>
                </c:pt>
                <c:pt idx="590">
                  <c:v>100.25368446484657</c:v>
                </c:pt>
                <c:pt idx="591">
                  <c:v>102.51268422324233</c:v>
                </c:pt>
                <c:pt idx="592">
                  <c:v>102.57308528630102</c:v>
                </c:pt>
                <c:pt idx="593">
                  <c:v>103.61198357091084</c:v>
                </c:pt>
                <c:pt idx="594">
                  <c:v>104.86832568253202</c:v>
                </c:pt>
                <c:pt idx="595">
                  <c:v>105.02536844648465</c:v>
                </c:pt>
                <c:pt idx="596">
                  <c:v>104.79584440686156</c:v>
                </c:pt>
                <c:pt idx="597">
                  <c:v>105.2669726987195</c:v>
                </c:pt>
                <c:pt idx="598">
                  <c:v>106.10050736892968</c:v>
                </c:pt>
                <c:pt idx="599">
                  <c:v>106.5353950229524</c:v>
                </c:pt>
                <c:pt idx="600">
                  <c:v>105.75018120318917</c:v>
                </c:pt>
                <c:pt idx="601">
                  <c:v>106.58371587339937</c:v>
                </c:pt>
                <c:pt idx="602">
                  <c:v>106.7045179995168</c:v>
                </c:pt>
                <c:pt idx="603">
                  <c:v>108.08166223725537</c:v>
                </c:pt>
                <c:pt idx="604">
                  <c:v>108.10582266247886</c:v>
                </c:pt>
                <c:pt idx="605">
                  <c:v>108.60111137956028</c:v>
                </c:pt>
                <c:pt idx="606">
                  <c:v>108.34742691471368</c:v>
                </c:pt>
                <c:pt idx="607">
                  <c:v>110.08697753080455</c:v>
                </c:pt>
                <c:pt idx="608">
                  <c:v>110.21985986953369</c:v>
                </c:pt>
                <c:pt idx="609">
                  <c:v>109.15680115970041</c:v>
                </c:pt>
                <c:pt idx="610">
                  <c:v>109.80913264073449</c:v>
                </c:pt>
                <c:pt idx="611">
                  <c:v>109.42256583715873</c:v>
                </c:pt>
                <c:pt idx="612">
                  <c:v>111.56076346943706</c:v>
                </c:pt>
                <c:pt idx="613">
                  <c:v>110.48562454699203</c:v>
                </c:pt>
                <c:pt idx="614">
                  <c:v>111.29499879197873</c:v>
                </c:pt>
                <c:pt idx="615">
                  <c:v>111.8627687847306</c:v>
                </c:pt>
                <c:pt idx="616">
                  <c:v>111.76612708383666</c:v>
                </c:pt>
                <c:pt idx="617">
                  <c:v>112.20101473785937</c:v>
                </c:pt>
                <c:pt idx="618">
                  <c:v>112.09229282435371</c:v>
                </c:pt>
                <c:pt idx="619">
                  <c:v>112.49093984054119</c:v>
                </c:pt>
                <c:pt idx="620">
                  <c:v>112.031891761295</c:v>
                </c:pt>
                <c:pt idx="621">
                  <c:v>112.88958685672867</c:v>
                </c:pt>
                <c:pt idx="622">
                  <c:v>112.96206813239912</c:v>
                </c:pt>
                <c:pt idx="623">
                  <c:v>112.27349601352982</c:v>
                </c:pt>
                <c:pt idx="624">
                  <c:v>112.8412660062817</c:v>
                </c:pt>
                <c:pt idx="625">
                  <c:v>111.83860835950712</c:v>
                </c:pt>
                <c:pt idx="626">
                  <c:v>110.75138922445036</c:v>
                </c:pt>
                <c:pt idx="627">
                  <c:v>110.03865668035758</c:v>
                </c:pt>
                <c:pt idx="628">
                  <c:v>111.35539985503746</c:v>
                </c:pt>
                <c:pt idx="629">
                  <c:v>112.2372553756946</c:v>
                </c:pt>
                <c:pt idx="630">
                  <c:v>111.89900942256583</c:v>
                </c:pt>
                <c:pt idx="631">
                  <c:v>112.43053877748248</c:v>
                </c:pt>
                <c:pt idx="632">
                  <c:v>112.01981154868325</c:v>
                </c:pt>
                <c:pt idx="633">
                  <c:v>112.22517516308288</c:v>
                </c:pt>
                <c:pt idx="634">
                  <c:v>112.49093984054119</c:v>
                </c:pt>
                <c:pt idx="635">
                  <c:v>112.33389707658854</c:v>
                </c:pt>
                <c:pt idx="636">
                  <c:v>111.74196665861319</c:v>
                </c:pt>
                <c:pt idx="637">
                  <c:v>111.10171539019088</c:v>
                </c:pt>
                <c:pt idx="638">
                  <c:v>111.657405170331</c:v>
                </c:pt>
                <c:pt idx="639">
                  <c:v>111.07755496496739</c:v>
                </c:pt>
                <c:pt idx="640">
                  <c:v>110.28026093259243</c:v>
                </c:pt>
                <c:pt idx="641">
                  <c:v>112.28557622614159</c:v>
                </c:pt>
                <c:pt idx="642">
                  <c:v>112.14061367480068</c:v>
                </c:pt>
                <c:pt idx="643">
                  <c:v>111.46412176854312</c:v>
                </c:pt>
                <c:pt idx="644">
                  <c:v>111.69364580816621</c:v>
                </c:pt>
                <c:pt idx="645">
                  <c:v>112.14061367480068</c:v>
                </c:pt>
                <c:pt idx="646">
                  <c:v>112.27349601352982</c:v>
                </c:pt>
                <c:pt idx="647">
                  <c:v>110.70306837400339</c:v>
                </c:pt>
                <c:pt idx="648">
                  <c:v>110.34066199565113</c:v>
                </c:pt>
                <c:pt idx="649">
                  <c:v>109.31384392365304</c:v>
                </c:pt>
                <c:pt idx="650">
                  <c:v>108.55279052911331</c:v>
                </c:pt>
                <c:pt idx="651">
                  <c:v>109.21720222275913</c:v>
                </c:pt>
                <c:pt idx="652">
                  <c:v>110.21985986953369</c:v>
                </c:pt>
                <c:pt idx="653">
                  <c:v>109.54336796327615</c:v>
                </c:pt>
                <c:pt idx="654">
                  <c:v>108.99975839574776</c:v>
                </c:pt>
                <c:pt idx="655">
                  <c:v>110.03865668035758</c:v>
                </c:pt>
                <c:pt idx="656">
                  <c:v>109.79705242812274</c:v>
                </c:pt>
                <c:pt idx="657">
                  <c:v>109.2655230732061</c:v>
                </c:pt>
                <c:pt idx="658">
                  <c:v>108.73399371828944</c:v>
                </c:pt>
                <c:pt idx="659">
                  <c:v>108.37158733993716</c:v>
                </c:pt>
                <c:pt idx="660">
                  <c:v>108.62527180478376</c:v>
                </c:pt>
                <c:pt idx="661">
                  <c:v>109.28968349842958</c:v>
                </c:pt>
                <c:pt idx="662">
                  <c:v>109.15680115970041</c:v>
                </c:pt>
                <c:pt idx="663">
                  <c:v>110.14737859386325</c:v>
                </c:pt>
                <c:pt idx="664">
                  <c:v>109.10848030925344</c:v>
                </c:pt>
                <c:pt idx="665">
                  <c:v>109.85745349118143</c:v>
                </c:pt>
                <c:pt idx="666">
                  <c:v>109.37424498671177</c:v>
                </c:pt>
                <c:pt idx="667">
                  <c:v>109.28968349842958</c:v>
                </c:pt>
                <c:pt idx="668">
                  <c:v>107.03068374003382</c:v>
                </c:pt>
                <c:pt idx="669">
                  <c:v>107.26020777965692</c:v>
                </c:pt>
                <c:pt idx="670">
                  <c:v>105.95554481758877</c:v>
                </c:pt>
                <c:pt idx="671">
                  <c:v>105.5810582266248</c:v>
                </c:pt>
                <c:pt idx="672">
                  <c:v>104.53007972940324</c:v>
                </c:pt>
                <c:pt idx="673">
                  <c:v>103.85358782314569</c:v>
                </c:pt>
                <c:pt idx="674">
                  <c:v>103.20125634211163</c:v>
                </c:pt>
                <c:pt idx="675">
                  <c:v>100.79729403237496</c:v>
                </c:pt>
                <c:pt idx="676">
                  <c:v>102.04155593138439</c:v>
                </c:pt>
                <c:pt idx="677">
                  <c:v>99.830877023435619</c:v>
                </c:pt>
                <c:pt idx="678">
                  <c:v>99.939598936941294</c:v>
                </c:pt>
                <c:pt idx="679">
                  <c:v>100.61609084319885</c:v>
                </c:pt>
                <c:pt idx="680">
                  <c:v>99.335588306354197</c:v>
                </c:pt>
                <c:pt idx="681">
                  <c:v>99.275187243295491</c:v>
                </c:pt>
                <c:pt idx="682">
                  <c:v>99.130224691954581</c:v>
                </c:pt>
                <c:pt idx="683">
                  <c:v>99.565112345977298</c:v>
                </c:pt>
                <c:pt idx="684">
                  <c:v>100.73689296931624</c:v>
                </c:pt>
                <c:pt idx="685">
                  <c:v>100.22952403962309</c:v>
                </c:pt>
                <c:pt idx="686">
                  <c:v>100.26576467745831</c:v>
                </c:pt>
                <c:pt idx="687">
                  <c:v>99.154385117178052</c:v>
                </c:pt>
                <c:pt idx="688">
                  <c:v>97.040347910123216</c:v>
                </c:pt>
                <c:pt idx="689">
                  <c:v>97.95844406861562</c:v>
                </c:pt>
                <c:pt idx="690">
                  <c:v>99.214786180236771</c:v>
                </c:pt>
                <c:pt idx="691">
                  <c:v>100.32616574051703</c:v>
                </c:pt>
                <c:pt idx="692">
                  <c:v>98.961101715390186</c:v>
                </c:pt>
                <c:pt idx="693">
                  <c:v>100.78521381976324</c:v>
                </c:pt>
                <c:pt idx="694">
                  <c:v>100.21744382701134</c:v>
                </c:pt>
                <c:pt idx="695">
                  <c:v>100.68857211886927</c:v>
                </c:pt>
                <c:pt idx="696">
                  <c:v>100.38656680357573</c:v>
                </c:pt>
                <c:pt idx="697">
                  <c:v>101.36506402512684</c:v>
                </c:pt>
                <c:pt idx="698">
                  <c:v>102.54892486107757</c:v>
                </c:pt>
                <c:pt idx="699">
                  <c:v>102.40396230973666</c:v>
                </c:pt>
                <c:pt idx="700">
                  <c:v>103.34621889345253</c:v>
                </c:pt>
                <c:pt idx="701">
                  <c:v>102.59724571152454</c:v>
                </c:pt>
                <c:pt idx="702">
                  <c:v>101.51002657646775</c:v>
                </c:pt>
                <c:pt idx="703">
                  <c:v>101.20802126117418</c:v>
                </c:pt>
                <c:pt idx="704">
                  <c:v>100.93017637110412</c:v>
                </c:pt>
                <c:pt idx="705">
                  <c:v>101.61874848997343</c:v>
                </c:pt>
                <c:pt idx="706">
                  <c:v>102.5610050736893</c:v>
                </c:pt>
                <c:pt idx="707">
                  <c:v>104.27639526455665</c:v>
                </c:pt>
                <c:pt idx="708">
                  <c:v>104.74752355641459</c:v>
                </c:pt>
                <c:pt idx="709">
                  <c:v>105.73810099057744</c:v>
                </c:pt>
                <c:pt idx="710">
                  <c:v>106.10050736892968</c:v>
                </c:pt>
                <c:pt idx="711">
                  <c:v>105.90722396714183</c:v>
                </c:pt>
                <c:pt idx="712">
                  <c:v>105.66561971490698</c:v>
                </c:pt>
                <c:pt idx="713">
                  <c:v>104.21599420149794</c:v>
                </c:pt>
                <c:pt idx="714">
                  <c:v>104.10727228799229</c:v>
                </c:pt>
                <c:pt idx="715">
                  <c:v>103.97438994926308</c:v>
                </c:pt>
                <c:pt idx="716">
                  <c:v>102.52476443585408</c:v>
                </c:pt>
                <c:pt idx="717">
                  <c:v>102.92341145204156</c:v>
                </c:pt>
                <c:pt idx="718">
                  <c:v>103.26165740517033</c:v>
                </c:pt>
                <c:pt idx="719">
                  <c:v>103.37037931867602</c:v>
                </c:pt>
                <c:pt idx="720">
                  <c:v>102.86301038898284</c:v>
                </c:pt>
                <c:pt idx="721">
                  <c:v>104.10727228799229</c:v>
                </c:pt>
                <c:pt idx="722">
                  <c:v>103.29789804300556</c:v>
                </c:pt>
                <c:pt idx="723">
                  <c:v>101.31674317467987</c:v>
                </c:pt>
                <c:pt idx="724">
                  <c:v>101.14762019811549</c:v>
                </c:pt>
                <c:pt idx="725">
                  <c:v>100.1208021261174</c:v>
                </c:pt>
                <c:pt idx="726">
                  <c:v>100.67649190625755</c:v>
                </c:pt>
                <c:pt idx="727">
                  <c:v>102.246919545784</c:v>
                </c:pt>
                <c:pt idx="728">
                  <c:v>103.40661995651124</c:v>
                </c:pt>
                <c:pt idx="729">
                  <c:v>104.53007972940324</c:v>
                </c:pt>
                <c:pt idx="730">
                  <c:v>104.21599420149794</c:v>
                </c:pt>
                <c:pt idx="731">
                  <c:v>104.05895143754532</c:v>
                </c:pt>
                <c:pt idx="732">
                  <c:v>103.08045421599419</c:v>
                </c:pt>
                <c:pt idx="733">
                  <c:v>104.91664653297896</c:v>
                </c:pt>
                <c:pt idx="734">
                  <c:v>105.35153418700168</c:v>
                </c:pt>
                <c:pt idx="735">
                  <c:v>105.75018120318917</c:v>
                </c:pt>
                <c:pt idx="736">
                  <c:v>106.52331481034068</c:v>
                </c:pt>
                <c:pt idx="737">
                  <c:v>106.35419183377628</c:v>
                </c:pt>
                <c:pt idx="738">
                  <c:v>106.08842715631795</c:v>
                </c:pt>
                <c:pt idx="739">
                  <c:v>106.39043247161149</c:v>
                </c:pt>
                <c:pt idx="740">
                  <c:v>105.97970524281229</c:v>
                </c:pt>
                <c:pt idx="741">
                  <c:v>106.35419183377628</c:v>
                </c:pt>
                <c:pt idx="742">
                  <c:v>106.64411693645808</c:v>
                </c:pt>
                <c:pt idx="743">
                  <c:v>106.60787629862286</c:v>
                </c:pt>
                <c:pt idx="744">
                  <c:v>106.94612225175165</c:v>
                </c:pt>
                <c:pt idx="745">
                  <c:v>106.55955544817589</c:v>
                </c:pt>
                <c:pt idx="746">
                  <c:v>107.68301522106789</c:v>
                </c:pt>
                <c:pt idx="747">
                  <c:v>106.52331481034068</c:v>
                </c:pt>
                <c:pt idx="748">
                  <c:v>106.11258758154143</c:v>
                </c:pt>
                <c:pt idx="749">
                  <c:v>105.43609567528389</c:v>
                </c:pt>
                <c:pt idx="750">
                  <c:v>105.53273737617781</c:v>
                </c:pt>
                <c:pt idx="751">
                  <c:v>104.85624546992027</c:v>
                </c:pt>
                <c:pt idx="752">
                  <c:v>104.30055568978014</c:v>
                </c:pt>
                <c:pt idx="753">
                  <c:v>104.44551824112102</c:v>
                </c:pt>
                <c:pt idx="754">
                  <c:v>104.10727228799229</c:v>
                </c:pt>
                <c:pt idx="755">
                  <c:v>102.88717081420633</c:v>
                </c:pt>
                <c:pt idx="756">
                  <c:v>102.71804783764193</c:v>
                </c:pt>
                <c:pt idx="757">
                  <c:v>105.56897801401304</c:v>
                </c:pt>
                <c:pt idx="758">
                  <c:v>105.71394056535395</c:v>
                </c:pt>
                <c:pt idx="759">
                  <c:v>105.75018120318917</c:v>
                </c:pt>
                <c:pt idx="760">
                  <c:v>106.98236288958687</c:v>
                </c:pt>
                <c:pt idx="761">
                  <c:v>107.33268905532736</c:v>
                </c:pt>
                <c:pt idx="762">
                  <c:v>109.43464604977046</c:v>
                </c:pt>
                <c:pt idx="763">
                  <c:v>109.28968349842958</c:v>
                </c:pt>
                <c:pt idx="764">
                  <c:v>109.21720222275913</c:v>
                </c:pt>
                <c:pt idx="765">
                  <c:v>110.23194008214546</c:v>
                </c:pt>
                <c:pt idx="766">
                  <c:v>108.80647499395988</c:v>
                </c:pt>
                <c:pt idx="767">
                  <c:v>109.72457115245228</c:v>
                </c:pt>
                <c:pt idx="768">
                  <c:v>109.61584923894661</c:v>
                </c:pt>
                <c:pt idx="769">
                  <c:v>109.82121285334621</c:v>
                </c:pt>
                <c:pt idx="770">
                  <c:v>108.86687605701862</c:v>
                </c:pt>
                <c:pt idx="771">
                  <c:v>109.61584923894661</c:v>
                </c:pt>
                <c:pt idx="772">
                  <c:v>109.64000966417009</c:v>
                </c:pt>
                <c:pt idx="773">
                  <c:v>109.14472094708867</c:v>
                </c:pt>
                <c:pt idx="774">
                  <c:v>109.22928243537086</c:v>
                </c:pt>
                <c:pt idx="775">
                  <c:v>108.79439478134816</c:v>
                </c:pt>
                <c:pt idx="776">
                  <c:v>109.55544817588789</c:v>
                </c:pt>
                <c:pt idx="777">
                  <c:v>109.73665136506403</c:v>
                </c:pt>
                <c:pt idx="778">
                  <c:v>109.36216477410004</c:v>
                </c:pt>
                <c:pt idx="779">
                  <c:v>108.75815414351293</c:v>
                </c:pt>
                <c:pt idx="780">
                  <c:v>107.59845373278569</c:v>
                </c:pt>
                <c:pt idx="781">
                  <c:v>107.34476926793913</c:v>
                </c:pt>
                <c:pt idx="782">
                  <c:v>107.88837883546751</c:v>
                </c:pt>
                <c:pt idx="783">
                  <c:v>107.85213819763229</c:v>
                </c:pt>
                <c:pt idx="784">
                  <c:v>108.58903116694853</c:v>
                </c:pt>
                <c:pt idx="785">
                  <c:v>109.5312877506644</c:v>
                </c:pt>
                <c:pt idx="786">
                  <c:v>110.26818071998068</c:v>
                </c:pt>
                <c:pt idx="787">
                  <c:v>109.91785455424015</c:v>
                </c:pt>
                <c:pt idx="788">
                  <c:v>109.78497221551098</c:v>
                </c:pt>
                <c:pt idx="789">
                  <c:v>109.36216477410004</c:v>
                </c:pt>
                <c:pt idx="790">
                  <c:v>108.87895626963034</c:v>
                </c:pt>
                <c:pt idx="791">
                  <c:v>109.3259241362648</c:v>
                </c:pt>
                <c:pt idx="792">
                  <c:v>108.35950712732544</c:v>
                </c:pt>
                <c:pt idx="793">
                  <c:v>108.00918096158492</c:v>
                </c:pt>
                <c:pt idx="794">
                  <c:v>107.81589755979707</c:v>
                </c:pt>
                <c:pt idx="795">
                  <c:v>108.52863010388982</c:v>
                </c:pt>
                <c:pt idx="796">
                  <c:v>108.62527180478376</c:v>
                </c:pt>
                <c:pt idx="797">
                  <c:v>109.42256583715873</c:v>
                </c:pt>
                <c:pt idx="798">
                  <c:v>109.03599903358298</c:v>
                </c:pt>
                <c:pt idx="799">
                  <c:v>108.98767818313601</c:v>
                </c:pt>
                <c:pt idx="800">
                  <c:v>109.80913264073449</c:v>
                </c:pt>
                <c:pt idx="801">
                  <c:v>108.39574776516068</c:v>
                </c:pt>
                <c:pt idx="802">
                  <c:v>108.14206330031408</c:v>
                </c:pt>
                <c:pt idx="803">
                  <c:v>107.61053394539744</c:v>
                </c:pt>
                <c:pt idx="804">
                  <c:v>107.09108480309253</c:v>
                </c:pt>
                <c:pt idx="805">
                  <c:v>106.90988161391641</c:v>
                </c:pt>
                <c:pt idx="806">
                  <c:v>106.77699927518725</c:v>
                </c:pt>
                <c:pt idx="807">
                  <c:v>107.2239671418217</c:v>
                </c:pt>
                <c:pt idx="808">
                  <c:v>108.21454457598453</c:v>
                </c:pt>
                <c:pt idx="809">
                  <c:v>107.98502053636143</c:v>
                </c:pt>
                <c:pt idx="810">
                  <c:v>108.09374244986711</c:v>
                </c:pt>
                <c:pt idx="811">
                  <c:v>108.91519690746556</c:v>
                </c:pt>
                <c:pt idx="812">
                  <c:v>109.5312877506644</c:v>
                </c:pt>
                <c:pt idx="813">
                  <c:v>109.97825561729888</c:v>
                </c:pt>
                <c:pt idx="814">
                  <c:v>110.30442135781591</c:v>
                </c:pt>
                <c:pt idx="815">
                  <c:v>109.7004107272288</c:v>
                </c:pt>
                <c:pt idx="816">
                  <c:v>110.73930901183861</c:v>
                </c:pt>
                <c:pt idx="817">
                  <c:v>111.15003624063785</c:v>
                </c:pt>
                <c:pt idx="818">
                  <c:v>111.15003624063785</c:v>
                </c:pt>
                <c:pt idx="819">
                  <c:v>111.4278811307079</c:v>
                </c:pt>
                <c:pt idx="820">
                  <c:v>111.76612708383666</c:v>
                </c:pt>
                <c:pt idx="821">
                  <c:v>112.27349601352982</c:v>
                </c:pt>
                <c:pt idx="822">
                  <c:v>112.41845856487073</c:v>
                </c:pt>
                <c:pt idx="823">
                  <c:v>112.43053877748248</c:v>
                </c:pt>
                <c:pt idx="824">
                  <c:v>112.406378352259</c:v>
                </c:pt>
                <c:pt idx="825">
                  <c:v>112.90166706934042</c:v>
                </c:pt>
                <c:pt idx="826">
                  <c:v>113.0949504711283</c:v>
                </c:pt>
                <c:pt idx="827">
                  <c:v>113.31239429813964</c:v>
                </c:pt>
                <c:pt idx="828">
                  <c:v>113.2640734476927</c:v>
                </c:pt>
                <c:pt idx="829">
                  <c:v>113.77144237738585</c:v>
                </c:pt>
                <c:pt idx="830">
                  <c:v>115.25730852863009</c:v>
                </c:pt>
                <c:pt idx="831">
                  <c:v>115.00362406378353</c:v>
                </c:pt>
                <c:pt idx="832">
                  <c:v>114.24257066924378</c:v>
                </c:pt>
                <c:pt idx="833">
                  <c:v>114.02512684223242</c:v>
                </c:pt>
                <c:pt idx="834">
                  <c:v>115.05194491423048</c:v>
                </c:pt>
                <c:pt idx="835">
                  <c:v>115.65595554481757</c:v>
                </c:pt>
                <c:pt idx="836">
                  <c:v>115.49891278086494</c:v>
                </c:pt>
                <c:pt idx="837">
                  <c:v>116.45324957719257</c:v>
                </c:pt>
                <c:pt idx="838">
                  <c:v>116.91229765643875</c:v>
                </c:pt>
                <c:pt idx="839">
                  <c:v>117.64919062575501</c:v>
                </c:pt>
                <c:pt idx="840">
                  <c:v>117.40758637352018</c:v>
                </c:pt>
                <c:pt idx="841">
                  <c:v>116.88813723121527</c:v>
                </c:pt>
                <c:pt idx="842">
                  <c:v>117.0935008456149</c:v>
                </c:pt>
                <c:pt idx="843">
                  <c:v>117.76999275187244</c:v>
                </c:pt>
                <c:pt idx="844">
                  <c:v>117.62503020053154</c:v>
                </c:pt>
                <c:pt idx="845">
                  <c:v>117.9874365788838</c:v>
                </c:pt>
                <c:pt idx="846">
                  <c:v>118.55520657163565</c:v>
                </c:pt>
                <c:pt idx="847">
                  <c:v>117.32302488523798</c:v>
                </c:pt>
                <c:pt idx="848">
                  <c:v>116.91229765643875</c:v>
                </c:pt>
                <c:pt idx="849">
                  <c:v>118.50688572118868</c:v>
                </c:pt>
                <c:pt idx="850">
                  <c:v>118.12031891761295</c:v>
                </c:pt>
                <c:pt idx="851">
                  <c:v>118.70016912297656</c:v>
                </c:pt>
                <c:pt idx="852">
                  <c:v>117.81831360231941</c:v>
                </c:pt>
                <c:pt idx="853">
                  <c:v>117.21430297173229</c:v>
                </c:pt>
                <c:pt idx="854">
                  <c:v>117.5283884996376</c:v>
                </c:pt>
                <c:pt idx="855">
                  <c:v>117.22638318434404</c:v>
                </c:pt>
                <c:pt idx="856">
                  <c:v>117.96327615366032</c:v>
                </c:pt>
                <c:pt idx="857">
                  <c:v>118.85721188692922</c:v>
                </c:pt>
                <c:pt idx="858">
                  <c:v>118.86929209954096</c:v>
                </c:pt>
                <c:pt idx="859">
                  <c:v>118.26528146895386</c:v>
                </c:pt>
                <c:pt idx="860">
                  <c:v>119.18337762744625</c:v>
                </c:pt>
                <c:pt idx="861">
                  <c:v>117.31094467262623</c:v>
                </c:pt>
                <c:pt idx="862">
                  <c:v>118.84513167431746</c:v>
                </c:pt>
                <c:pt idx="863">
                  <c:v>118.76057018603528</c:v>
                </c:pt>
                <c:pt idx="864">
                  <c:v>118.39816380768302</c:v>
                </c:pt>
                <c:pt idx="865">
                  <c:v>117.9391157284368</c:v>
                </c:pt>
                <c:pt idx="866">
                  <c:v>118.77265039864702</c:v>
                </c:pt>
                <c:pt idx="867">
                  <c:v>118.3619231698478</c:v>
                </c:pt>
                <c:pt idx="868">
                  <c:v>118.72432954820005</c:v>
                </c:pt>
                <c:pt idx="869">
                  <c:v>117.74583232664895</c:v>
                </c:pt>
                <c:pt idx="870">
                  <c:v>118.62768784730611</c:v>
                </c:pt>
                <c:pt idx="871">
                  <c:v>118.80889103648222</c:v>
                </c:pt>
                <c:pt idx="872">
                  <c:v>119.95651123459771</c:v>
                </c:pt>
                <c:pt idx="873">
                  <c:v>118.85721188692922</c:v>
                </c:pt>
                <c:pt idx="874">
                  <c:v>118.74848997342353</c:v>
                </c:pt>
                <c:pt idx="875">
                  <c:v>119.34042039139889</c:v>
                </c:pt>
                <c:pt idx="876">
                  <c:v>119.00217443827013</c:v>
                </c:pt>
                <c:pt idx="877">
                  <c:v>118.71224933558831</c:v>
                </c:pt>
                <c:pt idx="878">
                  <c:v>120.04107272287992</c:v>
                </c:pt>
                <c:pt idx="879">
                  <c:v>119.82362889586857</c:v>
                </c:pt>
                <c:pt idx="880">
                  <c:v>119.43706209229283</c:v>
                </c:pt>
                <c:pt idx="881">
                  <c:v>119.66658613191592</c:v>
                </c:pt>
                <c:pt idx="882">
                  <c:v>120.97124909398404</c:v>
                </c:pt>
                <c:pt idx="883">
                  <c:v>120.28267697511474</c:v>
                </c:pt>
                <c:pt idx="884">
                  <c:v>120.74172505436096</c:v>
                </c:pt>
                <c:pt idx="885">
                  <c:v>121.61150036240637</c:v>
                </c:pt>
                <c:pt idx="886">
                  <c:v>121.16453249577192</c:v>
                </c:pt>
                <c:pt idx="887">
                  <c:v>120.46388016429088</c:v>
                </c:pt>
                <c:pt idx="888">
                  <c:v>120.72964484174922</c:v>
                </c:pt>
                <c:pt idx="889">
                  <c:v>121.78062333897077</c:v>
                </c:pt>
                <c:pt idx="890">
                  <c:v>119.73906740758638</c:v>
                </c:pt>
                <c:pt idx="891">
                  <c:v>120.65716356607876</c:v>
                </c:pt>
                <c:pt idx="892">
                  <c:v>120.21019569944431</c:v>
                </c:pt>
                <c:pt idx="893">
                  <c:v>121.01956994443104</c:v>
                </c:pt>
                <c:pt idx="894">
                  <c:v>120.04107272287992</c:v>
                </c:pt>
                <c:pt idx="895">
                  <c:v>121.28533462188935</c:v>
                </c:pt>
                <c:pt idx="896">
                  <c:v>121.43029717323024</c:v>
                </c:pt>
                <c:pt idx="897">
                  <c:v>122.28799226866394</c:v>
                </c:pt>
                <c:pt idx="898">
                  <c:v>121.78062333897077</c:v>
                </c:pt>
                <c:pt idx="899">
                  <c:v>119.82362889586857</c:v>
                </c:pt>
                <c:pt idx="900">
                  <c:v>121.03165015704276</c:v>
                </c:pt>
                <c:pt idx="901">
                  <c:v>120.04107272287992</c:v>
                </c:pt>
                <c:pt idx="902">
                  <c:v>120.16187484899734</c:v>
                </c:pt>
                <c:pt idx="903">
                  <c:v>120.53636143996134</c:v>
                </c:pt>
                <c:pt idx="904">
                  <c:v>120.6692437786905</c:v>
                </c:pt>
                <c:pt idx="905">
                  <c:v>121.816863976806</c:v>
                </c:pt>
                <c:pt idx="906">
                  <c:v>123.61681565595555</c:v>
                </c:pt>
                <c:pt idx="907">
                  <c:v>123.85841990819037</c:v>
                </c:pt>
                <c:pt idx="908">
                  <c:v>123.23024885237982</c:v>
                </c:pt>
                <c:pt idx="909">
                  <c:v>122.9161633244745</c:v>
                </c:pt>
                <c:pt idx="910">
                  <c:v>123.88258033341386</c:v>
                </c:pt>
                <c:pt idx="911">
                  <c:v>122.72287992268664</c:v>
                </c:pt>
                <c:pt idx="912">
                  <c:v>123.16984778932107</c:v>
                </c:pt>
                <c:pt idx="913">
                  <c:v>124.41410968833051</c:v>
                </c:pt>
                <c:pt idx="914">
                  <c:v>123.77385841990818</c:v>
                </c:pt>
                <c:pt idx="915">
                  <c:v>125.45300797294033</c:v>
                </c:pt>
                <c:pt idx="916">
                  <c:v>126.34694370620923</c:v>
                </c:pt>
                <c:pt idx="917">
                  <c:v>126.84223242329065</c:v>
                </c:pt>
                <c:pt idx="918">
                  <c:v>126.74559072239671</c:v>
                </c:pt>
                <c:pt idx="919">
                  <c:v>128.00193283401785</c:v>
                </c:pt>
                <c:pt idx="920">
                  <c:v>127.71200773133606</c:v>
                </c:pt>
                <c:pt idx="921">
                  <c:v>127.02343561246678</c:v>
                </c:pt>
                <c:pt idx="922">
                  <c:v>126.50398647016188</c:v>
                </c:pt>
                <c:pt idx="923">
                  <c:v>126.80599178545542</c:v>
                </c:pt>
                <c:pt idx="924">
                  <c:v>129.05291133123941</c:v>
                </c:pt>
                <c:pt idx="925">
                  <c:v>130.12805025368445</c:v>
                </c:pt>
                <c:pt idx="926">
                  <c:v>129.19787388258032</c:v>
                </c:pt>
                <c:pt idx="927">
                  <c:v>128.76298622855762</c:v>
                </c:pt>
                <c:pt idx="928">
                  <c:v>129.17371345735685</c:v>
                </c:pt>
                <c:pt idx="929">
                  <c:v>129.08915196907463</c:v>
                </c:pt>
                <c:pt idx="930">
                  <c:v>130.24885237980189</c:v>
                </c:pt>
                <c:pt idx="931">
                  <c:v>130.27301280502536</c:v>
                </c:pt>
                <c:pt idx="932">
                  <c:v>130.06764919062576</c:v>
                </c:pt>
                <c:pt idx="933">
                  <c:v>131.5776757670935</c:v>
                </c:pt>
                <c:pt idx="934">
                  <c:v>131.42063300314086</c:v>
                </c:pt>
                <c:pt idx="935">
                  <c:v>131.02198598695335</c:v>
                </c:pt>
                <c:pt idx="936">
                  <c:v>126.40734476926794</c:v>
                </c:pt>
                <c:pt idx="937">
                  <c:v>126.90263348634936</c:v>
                </c:pt>
                <c:pt idx="938">
                  <c:v>125.38052669726987</c:v>
                </c:pt>
                <c:pt idx="939">
                  <c:v>125.63421116211646</c:v>
                </c:pt>
                <c:pt idx="940">
                  <c:v>126.6006281710558</c:v>
                </c:pt>
                <c:pt idx="941">
                  <c:v>124.07586373520174</c:v>
                </c:pt>
                <c:pt idx="942">
                  <c:v>123.71345735684946</c:v>
                </c:pt>
                <c:pt idx="943">
                  <c:v>122.09470886687606</c:v>
                </c:pt>
                <c:pt idx="944">
                  <c:v>123.3752114037207</c:v>
                </c:pt>
                <c:pt idx="945">
                  <c:v>121.59942014979464</c:v>
                </c:pt>
                <c:pt idx="946">
                  <c:v>120.57260207779656</c:v>
                </c:pt>
                <c:pt idx="947">
                  <c:v>119.96859144720948</c:v>
                </c:pt>
                <c:pt idx="948">
                  <c:v>121.5631795119594</c:v>
                </c:pt>
                <c:pt idx="949">
                  <c:v>121.16453249577192</c:v>
                </c:pt>
                <c:pt idx="950">
                  <c:v>121.58733993718289</c:v>
                </c:pt>
                <c:pt idx="951">
                  <c:v>118.57936699685914</c:v>
                </c:pt>
                <c:pt idx="952">
                  <c:v>119.90819038415077</c:v>
                </c:pt>
                <c:pt idx="953">
                  <c:v>121.61150036240637</c:v>
                </c:pt>
                <c:pt idx="954">
                  <c:v>121.09205122010147</c:v>
                </c:pt>
                <c:pt idx="955">
                  <c:v>122.30007248127566</c:v>
                </c:pt>
                <c:pt idx="956">
                  <c:v>117.69751147620198</c:v>
                </c:pt>
                <c:pt idx="957">
                  <c:v>117.85455424015463</c:v>
                </c:pt>
                <c:pt idx="958">
                  <c:v>115.93380043488766</c:v>
                </c:pt>
                <c:pt idx="959">
                  <c:v>115.12442618990093</c:v>
                </c:pt>
                <c:pt idx="960">
                  <c:v>115.74051703309978</c:v>
                </c:pt>
                <c:pt idx="961">
                  <c:v>117.69751147620198</c:v>
                </c:pt>
                <c:pt idx="962">
                  <c:v>120.40347910123219</c:v>
                </c:pt>
                <c:pt idx="963">
                  <c:v>121.11621164532495</c:v>
                </c:pt>
                <c:pt idx="964">
                  <c:v>121.53901908673592</c:v>
                </c:pt>
                <c:pt idx="965">
                  <c:v>120.72964484174922</c:v>
                </c:pt>
                <c:pt idx="966">
                  <c:v>120.80212611741968</c:v>
                </c:pt>
                <c:pt idx="967">
                  <c:v>121.5631795119594</c:v>
                </c:pt>
                <c:pt idx="968">
                  <c:v>119.61826528146895</c:v>
                </c:pt>
                <c:pt idx="969">
                  <c:v>121.30949504711283</c:v>
                </c:pt>
                <c:pt idx="970">
                  <c:v>122.14302971732303</c:v>
                </c:pt>
                <c:pt idx="971">
                  <c:v>124.75235564145927</c:v>
                </c:pt>
                <c:pt idx="972">
                  <c:v>124.69195457840058</c:v>
                </c:pt>
                <c:pt idx="973">
                  <c:v>124.60739309011839</c:v>
                </c:pt>
                <c:pt idx="974">
                  <c:v>125.44092776032858</c:v>
                </c:pt>
                <c:pt idx="975">
                  <c:v>125.35636627204639</c:v>
                </c:pt>
                <c:pt idx="976">
                  <c:v>125.19932350809376</c:v>
                </c:pt>
                <c:pt idx="977">
                  <c:v>124.54699202705967</c:v>
                </c:pt>
                <c:pt idx="978">
                  <c:v>125.57381009905775</c:v>
                </c:pt>
                <c:pt idx="979">
                  <c:v>126.63686880889102</c:v>
                </c:pt>
                <c:pt idx="980">
                  <c:v>126.32278328098575</c:v>
                </c:pt>
                <c:pt idx="981">
                  <c:v>125.42884754771684</c:v>
                </c:pt>
                <c:pt idx="982">
                  <c:v>124.60739309011839</c:v>
                </c:pt>
                <c:pt idx="983">
                  <c:v>122.14302971732303</c:v>
                </c:pt>
                <c:pt idx="984">
                  <c:v>123.09736651365064</c:v>
                </c:pt>
                <c:pt idx="985">
                  <c:v>121.61150036240637</c:v>
                </c:pt>
                <c:pt idx="986">
                  <c:v>122.98864460014497</c:v>
                </c:pt>
                <c:pt idx="987">
                  <c:v>124.93355883063542</c:v>
                </c:pt>
                <c:pt idx="988">
                  <c:v>124.67987436578882</c:v>
                </c:pt>
                <c:pt idx="989">
                  <c:v>125.11476201981154</c:v>
                </c:pt>
                <c:pt idx="990">
                  <c:v>123.16984778932107</c:v>
                </c:pt>
                <c:pt idx="991">
                  <c:v>123.09736651365064</c:v>
                </c:pt>
                <c:pt idx="992">
                  <c:v>123.04904566320367</c:v>
                </c:pt>
                <c:pt idx="993">
                  <c:v>123.03696545059194</c:v>
                </c:pt>
                <c:pt idx="994">
                  <c:v>124.01546267214303</c:v>
                </c:pt>
                <c:pt idx="995">
                  <c:v>124.86107755496496</c:v>
                </c:pt>
                <c:pt idx="996">
                  <c:v>123.84633969557864</c:v>
                </c:pt>
                <c:pt idx="997">
                  <c:v>123.18192800193285</c:v>
                </c:pt>
                <c:pt idx="998">
                  <c:v>122.55375694612225</c:v>
                </c:pt>
                <c:pt idx="999">
                  <c:v>120.65716356607876</c:v>
                </c:pt>
                <c:pt idx="1000">
                  <c:v>119.69074655713941</c:v>
                </c:pt>
                <c:pt idx="1001">
                  <c:v>118.68808891036483</c:v>
                </c:pt>
                <c:pt idx="1002">
                  <c:v>120.34307803817347</c:v>
                </c:pt>
                <c:pt idx="1003">
                  <c:v>120.43971973906741</c:v>
                </c:pt>
                <c:pt idx="1004">
                  <c:v>119.95651123459771</c:v>
                </c:pt>
                <c:pt idx="1005">
                  <c:v>117.95119594104857</c:v>
                </c:pt>
                <c:pt idx="1006">
                  <c:v>118.68808891036483</c:v>
                </c:pt>
                <c:pt idx="1007">
                  <c:v>118.9659338004349</c:v>
                </c:pt>
                <c:pt idx="1008">
                  <c:v>119.49746315535153</c:v>
                </c:pt>
                <c:pt idx="1009">
                  <c:v>120.75380526697268</c:v>
                </c:pt>
                <c:pt idx="1010">
                  <c:v>121.30949504711283</c:v>
                </c:pt>
                <c:pt idx="1011">
                  <c:v>121.7323024885238</c:v>
                </c:pt>
                <c:pt idx="1012">
                  <c:v>122.15510992993477</c:v>
                </c:pt>
                <c:pt idx="1013">
                  <c:v>123.87050012080213</c:v>
                </c:pt>
                <c:pt idx="1014">
                  <c:v>125.29596520898767</c:v>
                </c:pt>
                <c:pt idx="1015">
                  <c:v>125.71877265039863</c:v>
                </c:pt>
                <c:pt idx="1016">
                  <c:v>125.93621647741</c:v>
                </c:pt>
                <c:pt idx="1017">
                  <c:v>125.561729886446</c:v>
                </c:pt>
                <c:pt idx="1018">
                  <c:v>126.87847306112587</c:v>
                </c:pt>
                <c:pt idx="1019">
                  <c:v>126.22614158009181</c:v>
                </c:pt>
                <c:pt idx="1020">
                  <c:v>126.98719497463156</c:v>
                </c:pt>
                <c:pt idx="1021">
                  <c:v>129.17371345735685</c:v>
                </c:pt>
                <c:pt idx="1022">
                  <c:v>128.96834984295725</c:v>
                </c:pt>
                <c:pt idx="1023">
                  <c:v>129.42739792220343</c:v>
                </c:pt>
                <c:pt idx="1024">
                  <c:v>128.9079487798985</c:v>
                </c:pt>
                <c:pt idx="1025">
                  <c:v>128.66634452766371</c:v>
                </c:pt>
                <c:pt idx="1026">
                  <c:v>129.19787388258032</c:v>
                </c:pt>
                <c:pt idx="1027">
                  <c:v>129.54820004832084</c:v>
                </c:pt>
                <c:pt idx="1028">
                  <c:v>127.59120560521866</c:v>
                </c:pt>
                <c:pt idx="1029">
                  <c:v>127.84489007006523</c:v>
                </c:pt>
                <c:pt idx="1030">
                  <c:v>127.61536603044215</c:v>
                </c:pt>
                <c:pt idx="1031">
                  <c:v>128.36433921237014</c:v>
                </c:pt>
                <c:pt idx="1032">
                  <c:v>127.94153177095917</c:v>
                </c:pt>
                <c:pt idx="1033">
                  <c:v>126.86639284851412</c:v>
                </c:pt>
                <c:pt idx="1034">
                  <c:v>127.45832326648949</c:v>
                </c:pt>
                <c:pt idx="1035">
                  <c:v>128.11065474752354</c:v>
                </c:pt>
                <c:pt idx="1036">
                  <c:v>128.2435370862527</c:v>
                </c:pt>
                <c:pt idx="1037">
                  <c:v>129.75356366272047</c:v>
                </c:pt>
                <c:pt idx="1038">
                  <c:v>129.69316259966175</c:v>
                </c:pt>
                <c:pt idx="1039">
                  <c:v>129.81396472577919</c:v>
                </c:pt>
                <c:pt idx="1040">
                  <c:v>129.41531770959168</c:v>
                </c:pt>
                <c:pt idx="1041">
                  <c:v>130.84078279777725</c:v>
                </c:pt>
                <c:pt idx="1042">
                  <c:v>131.50519449142303</c:v>
                </c:pt>
                <c:pt idx="1043">
                  <c:v>131.61391640492872</c:v>
                </c:pt>
                <c:pt idx="1044">
                  <c:v>131.62599661754047</c:v>
                </c:pt>
                <c:pt idx="1045">
                  <c:v>130.84078279777725</c:v>
                </c:pt>
                <c:pt idx="1046">
                  <c:v>131.10654747523554</c:v>
                </c:pt>
                <c:pt idx="1047">
                  <c:v>129.42739792220343</c:v>
                </c:pt>
                <c:pt idx="1048">
                  <c:v>130.45421599420149</c:v>
                </c:pt>
                <c:pt idx="1049">
                  <c:v>130.12805025368445</c:v>
                </c:pt>
                <c:pt idx="1050">
                  <c:v>131.2877506644117</c:v>
                </c:pt>
                <c:pt idx="1051">
                  <c:v>130.49045663203671</c:v>
                </c:pt>
                <c:pt idx="1052">
                  <c:v>129.40323749697995</c:v>
                </c:pt>
                <c:pt idx="1053">
                  <c:v>129.20995409519207</c:v>
                </c:pt>
                <c:pt idx="1054">
                  <c:v>128.98043005556897</c:v>
                </c:pt>
                <c:pt idx="1055">
                  <c:v>129.25827494563904</c:v>
                </c:pt>
                <c:pt idx="1056">
                  <c:v>128.31601836192317</c:v>
                </c:pt>
                <c:pt idx="1057">
                  <c:v>127.25295965208987</c:v>
                </c:pt>
                <c:pt idx="1058">
                  <c:v>127.41000241604252</c:v>
                </c:pt>
                <c:pt idx="1059">
                  <c:v>128.07441410968832</c:v>
                </c:pt>
                <c:pt idx="1060">
                  <c:v>127.22879922686639</c:v>
                </c:pt>
                <c:pt idx="1061">
                  <c:v>128.23145687364098</c:v>
                </c:pt>
                <c:pt idx="1062">
                  <c:v>129.80188451316744</c:v>
                </c:pt>
                <c:pt idx="1063">
                  <c:v>131.23942981396473</c:v>
                </c:pt>
                <c:pt idx="1064">
                  <c:v>131.11862768784732</c:v>
                </c:pt>
                <c:pt idx="1065">
                  <c:v>130.73206088427156</c:v>
                </c:pt>
                <c:pt idx="1066">
                  <c:v>129.82604493839091</c:v>
                </c:pt>
                <c:pt idx="1067">
                  <c:v>129.98308770234354</c:v>
                </c:pt>
                <c:pt idx="1068">
                  <c:v>130.53877748248371</c:v>
                </c:pt>
                <c:pt idx="1069">
                  <c:v>130.3938149311428</c:v>
                </c:pt>
                <c:pt idx="1070">
                  <c:v>129.9347668518966</c:v>
                </c:pt>
                <c:pt idx="1071">
                  <c:v>130.804542159942</c:v>
                </c:pt>
                <c:pt idx="1072">
                  <c:v>130.94950471128294</c:v>
                </c:pt>
                <c:pt idx="1073">
                  <c:v>130.84078279777725</c:v>
                </c:pt>
                <c:pt idx="1074">
                  <c:v>131.00990577434163</c:v>
                </c:pt>
                <c:pt idx="1075">
                  <c:v>129.46363856003867</c:v>
                </c:pt>
                <c:pt idx="1076">
                  <c:v>129.27035515825079</c:v>
                </c:pt>
                <c:pt idx="1077">
                  <c:v>129.10123218168641</c:v>
                </c:pt>
                <c:pt idx="1078">
                  <c:v>130.44213578158977</c:v>
                </c:pt>
                <c:pt idx="1079">
                  <c:v>130.46629620681324</c:v>
                </c:pt>
                <c:pt idx="1080">
                  <c:v>129.87436578883788</c:v>
                </c:pt>
                <c:pt idx="1081">
                  <c:v>128.60594346460496</c:v>
                </c:pt>
                <c:pt idx="1082">
                  <c:v>128.17105581058226</c:v>
                </c:pt>
                <c:pt idx="1083">
                  <c:v>127.22879922686639</c:v>
                </c:pt>
                <c:pt idx="1084">
                  <c:v>127.98985262140614</c:v>
                </c:pt>
                <c:pt idx="1085">
                  <c:v>128.78714665378109</c:v>
                </c:pt>
                <c:pt idx="1086">
                  <c:v>128.40057985020536</c:v>
                </c:pt>
                <c:pt idx="1087">
                  <c:v>128.36433921237014</c:v>
                </c:pt>
                <c:pt idx="1088">
                  <c:v>128.71466537811065</c:v>
                </c:pt>
                <c:pt idx="1089">
                  <c:v>128.61802367721671</c:v>
                </c:pt>
                <c:pt idx="1090">
                  <c:v>130.07972940323751</c:v>
                </c:pt>
                <c:pt idx="1091">
                  <c:v>130.804542159942</c:v>
                </c:pt>
                <c:pt idx="1092">
                  <c:v>130.99782556172988</c:v>
                </c:pt>
                <c:pt idx="1093">
                  <c:v>130.46629620681324</c:v>
                </c:pt>
                <c:pt idx="1094">
                  <c:v>129.94684706450832</c:v>
                </c:pt>
                <c:pt idx="1095">
                  <c:v>129.01667069340419</c:v>
                </c:pt>
                <c:pt idx="1096">
                  <c:v>128.44890070065233</c:v>
                </c:pt>
                <c:pt idx="1097">
                  <c:v>129.86228557622616</c:v>
                </c:pt>
                <c:pt idx="1098">
                  <c:v>129.08915196907463</c:v>
                </c:pt>
                <c:pt idx="1099">
                  <c:v>129.64484174921478</c:v>
                </c:pt>
                <c:pt idx="1100">
                  <c:v>130.65957960860112</c:v>
                </c:pt>
                <c:pt idx="1101">
                  <c:v>128.932109205122</c:v>
                </c:pt>
                <c:pt idx="1102">
                  <c:v>129.77772408794394</c:v>
                </c:pt>
                <c:pt idx="1103">
                  <c:v>129.98308770234354</c:v>
                </c:pt>
                <c:pt idx="1104">
                  <c:v>130.11597004107273</c:v>
                </c:pt>
                <c:pt idx="1105">
                  <c:v>129.88644600144963</c:v>
                </c:pt>
                <c:pt idx="1106">
                  <c:v>129.97100748973182</c:v>
                </c:pt>
                <c:pt idx="1107">
                  <c:v>130.34549408069583</c:v>
                </c:pt>
                <c:pt idx="1108">
                  <c:v>129.4998791978739</c:v>
                </c:pt>
                <c:pt idx="1109">
                  <c:v>128.5213819763228</c:v>
                </c:pt>
                <c:pt idx="1110">
                  <c:v>125.30804542159942</c:v>
                </c:pt>
                <c:pt idx="1111">
                  <c:v>125.07852138197633</c:v>
                </c:pt>
                <c:pt idx="1112">
                  <c:v>127.56704517999515</c:v>
                </c:pt>
                <c:pt idx="1113">
                  <c:v>125.48924861077555</c:v>
                </c:pt>
                <c:pt idx="1114">
                  <c:v>125.8154143512926</c:v>
                </c:pt>
                <c:pt idx="1115">
                  <c:v>124.60739309011839</c:v>
                </c:pt>
                <c:pt idx="1116">
                  <c:v>120.86252718047837</c:v>
                </c:pt>
                <c:pt idx="1117">
                  <c:v>121.90142546508818</c:v>
                </c:pt>
                <c:pt idx="1118">
                  <c:v>121.98598695337037</c:v>
                </c:pt>
                <c:pt idx="1119">
                  <c:v>123.74969799468469</c:v>
                </c:pt>
                <c:pt idx="1120">
                  <c:v>124.60739309011839</c:v>
                </c:pt>
                <c:pt idx="1121">
                  <c:v>124.94563904324716</c:v>
                </c:pt>
                <c:pt idx="1122">
                  <c:v>126.27446243053878</c:v>
                </c:pt>
                <c:pt idx="1123">
                  <c:v>125.07852138197633</c:v>
                </c:pt>
                <c:pt idx="1124">
                  <c:v>124.93355883063542</c:v>
                </c:pt>
                <c:pt idx="1125">
                  <c:v>125.82749456390432</c:v>
                </c:pt>
                <c:pt idx="1126">
                  <c:v>127.07175646291373</c:v>
                </c:pt>
                <c:pt idx="1127">
                  <c:v>127.03551582507853</c:v>
                </c:pt>
                <c:pt idx="1128">
                  <c:v>125.21140372070549</c:v>
                </c:pt>
                <c:pt idx="1129">
                  <c:v>126.92679391157284</c:v>
                </c:pt>
                <c:pt idx="1130">
                  <c:v>126.57646774583233</c:v>
                </c:pt>
                <c:pt idx="1131">
                  <c:v>127.59120560521866</c:v>
                </c:pt>
                <c:pt idx="1132">
                  <c:v>127.49456390432472</c:v>
                </c:pt>
                <c:pt idx="1133">
                  <c:v>127.6395264556656</c:v>
                </c:pt>
                <c:pt idx="1134">
                  <c:v>127.57912539260691</c:v>
                </c:pt>
                <c:pt idx="1135">
                  <c:v>126.68518965933802</c:v>
                </c:pt>
                <c:pt idx="1136">
                  <c:v>126.70935008456148</c:v>
                </c:pt>
                <c:pt idx="1137">
                  <c:v>127.39792220343078</c:v>
                </c:pt>
                <c:pt idx="1138">
                  <c:v>128.34017878714664</c:v>
                </c:pt>
                <c:pt idx="1139">
                  <c:v>128.82338729161634</c:v>
                </c:pt>
                <c:pt idx="1140">
                  <c:v>127.76032858178303</c:v>
                </c:pt>
                <c:pt idx="1141">
                  <c:v>128.25561729886445</c:v>
                </c:pt>
                <c:pt idx="1142">
                  <c:v>126.43150519449142</c:v>
                </c:pt>
                <c:pt idx="1143">
                  <c:v>126.64894902150279</c:v>
                </c:pt>
                <c:pt idx="1144">
                  <c:v>124.69195457840058</c:v>
                </c:pt>
                <c:pt idx="1145">
                  <c:v>124.30538777482485</c:v>
                </c:pt>
                <c:pt idx="1146">
                  <c:v>125.24764435854073</c:v>
                </c:pt>
                <c:pt idx="1147">
                  <c:v>124.96979946847064</c:v>
                </c:pt>
                <c:pt idx="1148">
                  <c:v>122.58999758395748</c:v>
                </c:pt>
                <c:pt idx="1149">
                  <c:v>122.92824353708627</c:v>
                </c:pt>
                <c:pt idx="1150">
                  <c:v>124.48659096400097</c:v>
                </c:pt>
                <c:pt idx="1151">
                  <c:v>124.37786905049528</c:v>
                </c:pt>
                <c:pt idx="1152">
                  <c:v>125.40468712249336</c:v>
                </c:pt>
                <c:pt idx="1153">
                  <c:v>126.41942498187969</c:v>
                </c:pt>
                <c:pt idx="1154">
                  <c:v>127.04759603769027</c:v>
                </c:pt>
                <c:pt idx="1155">
                  <c:v>128.27977772408795</c:v>
                </c:pt>
                <c:pt idx="1156">
                  <c:v>128.64218410244018</c:v>
                </c:pt>
                <c:pt idx="1157">
                  <c:v>129.22203430780382</c:v>
                </c:pt>
                <c:pt idx="1158">
                  <c:v>129.34283643392124</c:v>
                </c:pt>
                <c:pt idx="1159">
                  <c:v>129.39115728436821</c:v>
                </c:pt>
                <c:pt idx="1160">
                  <c:v>128.69050495288715</c:v>
                </c:pt>
                <c:pt idx="1161">
                  <c:v>128.5213819763228</c:v>
                </c:pt>
                <c:pt idx="1162">
                  <c:v>128.15897559797054</c:v>
                </c:pt>
                <c:pt idx="1163">
                  <c:v>128.71466537811065</c:v>
                </c:pt>
                <c:pt idx="1164">
                  <c:v>127.53080454215993</c:v>
                </c:pt>
                <c:pt idx="1165">
                  <c:v>127.2046388016429</c:v>
                </c:pt>
                <c:pt idx="1166">
                  <c:v>127.13215752597245</c:v>
                </c:pt>
                <c:pt idx="1167">
                  <c:v>128.27977772408795</c:v>
                </c:pt>
                <c:pt idx="1168">
                  <c:v>128.56970282676977</c:v>
                </c:pt>
                <c:pt idx="1169">
                  <c:v>128.27977772408795</c:v>
                </c:pt>
                <c:pt idx="1170">
                  <c:v>128.69050495288715</c:v>
                </c:pt>
                <c:pt idx="1171">
                  <c:v>128.42474027542886</c:v>
                </c:pt>
                <c:pt idx="1172">
                  <c:v>128.01401304662963</c:v>
                </c:pt>
                <c:pt idx="1173">
                  <c:v>127.13215752597245</c:v>
                </c:pt>
                <c:pt idx="1174">
                  <c:v>127.44624305387775</c:v>
                </c:pt>
                <c:pt idx="1175">
                  <c:v>127.39792220343078</c:v>
                </c:pt>
                <c:pt idx="1176">
                  <c:v>128.30393814931142</c:v>
                </c:pt>
                <c:pt idx="1177">
                  <c:v>128.65426431505193</c:v>
                </c:pt>
                <c:pt idx="1178">
                  <c:v>128.60594346460496</c:v>
                </c:pt>
                <c:pt idx="1179">
                  <c:v>129.01667069340419</c:v>
                </c:pt>
                <c:pt idx="1180">
                  <c:v>127.01135539985503</c:v>
                </c:pt>
                <c:pt idx="1181">
                  <c:v>127.55496496738343</c:v>
                </c:pt>
                <c:pt idx="1182">
                  <c:v>128.00193283401785</c:v>
                </c:pt>
                <c:pt idx="1183">
                  <c:v>127.88113070790045</c:v>
                </c:pt>
                <c:pt idx="1184">
                  <c:v>129.28243537086252</c:v>
                </c:pt>
                <c:pt idx="1185">
                  <c:v>130.43005556897802</c:v>
                </c:pt>
                <c:pt idx="1186">
                  <c:v>130.55085769509543</c:v>
                </c:pt>
                <c:pt idx="1187">
                  <c:v>129.87436578883788</c:v>
                </c:pt>
                <c:pt idx="1188">
                  <c:v>129.97100748973182</c:v>
                </c:pt>
                <c:pt idx="1189">
                  <c:v>129.88644600144963</c:v>
                </c:pt>
                <c:pt idx="1190">
                  <c:v>129.64484174921478</c:v>
                </c:pt>
                <c:pt idx="1191">
                  <c:v>131.13070790045904</c:v>
                </c:pt>
                <c:pt idx="1192">
                  <c:v>131.81928001932835</c:v>
                </c:pt>
                <c:pt idx="1193">
                  <c:v>132.30248852379802</c:v>
                </c:pt>
                <c:pt idx="1194">
                  <c:v>132.00048320850445</c:v>
                </c:pt>
                <c:pt idx="1195">
                  <c:v>132.83401787871466</c:v>
                </c:pt>
                <c:pt idx="1196">
                  <c:v>132.9064991543851</c:v>
                </c:pt>
                <c:pt idx="1197">
                  <c:v>132.68905532737375</c:v>
                </c:pt>
                <c:pt idx="1198">
                  <c:v>133.57091084803093</c:v>
                </c:pt>
                <c:pt idx="1199">
                  <c:v>134.25948296690024</c:v>
                </c:pt>
                <c:pt idx="1200">
                  <c:v>134.1628412660063</c:v>
                </c:pt>
                <c:pt idx="1201">
                  <c:v>134.3682048804059</c:v>
                </c:pt>
                <c:pt idx="1202">
                  <c:v>134.5735684948055</c:v>
                </c:pt>
                <c:pt idx="1203">
                  <c:v>134.88765402271079</c:v>
                </c:pt>
                <c:pt idx="1204">
                  <c:v>135.10509784972214</c:v>
                </c:pt>
                <c:pt idx="1205">
                  <c:v>135.82991060642667</c:v>
                </c:pt>
                <c:pt idx="1206">
                  <c:v>135.7574293307562</c:v>
                </c:pt>
                <c:pt idx="1207">
                  <c:v>135.52790529113312</c:v>
                </c:pt>
                <c:pt idx="1208">
                  <c:v>135.10509784972214</c:v>
                </c:pt>
                <c:pt idx="1209">
                  <c:v>135.15341870016911</c:v>
                </c:pt>
                <c:pt idx="1210">
                  <c:v>135.40710316501568</c:v>
                </c:pt>
                <c:pt idx="1211">
                  <c:v>136.76008697753079</c:v>
                </c:pt>
                <c:pt idx="1212">
                  <c:v>136.25271804783765</c:v>
                </c:pt>
                <c:pt idx="1213">
                  <c:v>136.08359507127327</c:v>
                </c:pt>
                <c:pt idx="1214">
                  <c:v>136.42184102440206</c:v>
                </c:pt>
                <c:pt idx="1215">
                  <c:v>136.08359507127327</c:v>
                </c:pt>
                <c:pt idx="1216">
                  <c:v>137.00169122976564</c:v>
                </c:pt>
                <c:pt idx="1217">
                  <c:v>136.67552548924863</c:v>
                </c:pt>
                <c:pt idx="1218">
                  <c:v>137.66610292341144</c:v>
                </c:pt>
                <c:pt idx="1219">
                  <c:v>138.27011355399856</c:v>
                </c:pt>
                <c:pt idx="1220">
                  <c:v>139.28485141338487</c:v>
                </c:pt>
                <c:pt idx="1221">
                  <c:v>139.0311669485383</c:v>
                </c:pt>
                <c:pt idx="1222">
                  <c:v>139.57477651606669</c:v>
                </c:pt>
                <c:pt idx="1223">
                  <c:v>139.53853587823147</c:v>
                </c:pt>
                <c:pt idx="1224">
                  <c:v>139.33317226383184</c:v>
                </c:pt>
                <c:pt idx="1225">
                  <c:v>138.52379801884513</c:v>
                </c:pt>
                <c:pt idx="1226">
                  <c:v>138.45131674317469</c:v>
                </c:pt>
                <c:pt idx="1227">
                  <c:v>137.69026334863494</c:v>
                </c:pt>
                <c:pt idx="1228">
                  <c:v>138.22179270355159</c:v>
                </c:pt>
                <c:pt idx="1229">
                  <c:v>138.86204397197389</c:v>
                </c:pt>
                <c:pt idx="1230">
                  <c:v>138.95868567286783</c:v>
                </c:pt>
                <c:pt idx="1231">
                  <c:v>139.07948779898524</c:v>
                </c:pt>
                <c:pt idx="1232">
                  <c:v>138.56003865668038</c:v>
                </c:pt>
                <c:pt idx="1233">
                  <c:v>138.76540227107998</c:v>
                </c:pt>
                <c:pt idx="1234">
                  <c:v>139.73181928001932</c:v>
                </c:pt>
                <c:pt idx="1235">
                  <c:v>140.07006523314811</c:v>
                </c:pt>
                <c:pt idx="1236">
                  <c:v>139.94926310703067</c:v>
                </c:pt>
                <c:pt idx="1237">
                  <c:v>140.40831118627688</c:v>
                </c:pt>
                <c:pt idx="1238">
                  <c:v>140.81903841507611</c:v>
                </c:pt>
                <c:pt idx="1239">
                  <c:v>141.04856245469921</c:v>
                </c:pt>
                <c:pt idx="1240">
                  <c:v>141.02440202947571</c:v>
                </c:pt>
                <c:pt idx="1241">
                  <c:v>140.37207054844166</c:v>
                </c:pt>
                <c:pt idx="1242">
                  <c:v>139.39357332689056</c:v>
                </c:pt>
                <c:pt idx="1243">
                  <c:v>139.74389949263107</c:v>
                </c:pt>
                <c:pt idx="1244">
                  <c:v>138.75332205846823</c:v>
                </c:pt>
                <c:pt idx="1245">
                  <c:v>138.01642908915198</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087</c:v>
                </c:pt>
                <c:pt idx="1">
                  <c:v>40088</c:v>
                </c:pt>
                <c:pt idx="2">
                  <c:v>40091</c:v>
                </c:pt>
                <c:pt idx="3">
                  <c:v>40092</c:v>
                </c:pt>
                <c:pt idx="4">
                  <c:v>40093</c:v>
                </c:pt>
                <c:pt idx="5">
                  <c:v>40094</c:v>
                </c:pt>
                <c:pt idx="6">
                  <c:v>40095</c:v>
                </c:pt>
                <c:pt idx="7">
                  <c:v>40098</c:v>
                </c:pt>
                <c:pt idx="8">
                  <c:v>40099</c:v>
                </c:pt>
                <c:pt idx="9">
                  <c:v>40100</c:v>
                </c:pt>
                <c:pt idx="10">
                  <c:v>40101</c:v>
                </c:pt>
                <c:pt idx="11">
                  <c:v>40102</c:v>
                </c:pt>
                <c:pt idx="12">
                  <c:v>40105</c:v>
                </c:pt>
                <c:pt idx="13">
                  <c:v>40106</c:v>
                </c:pt>
                <c:pt idx="14">
                  <c:v>40107</c:v>
                </c:pt>
                <c:pt idx="15">
                  <c:v>40108</c:v>
                </c:pt>
                <c:pt idx="16">
                  <c:v>40109</c:v>
                </c:pt>
                <c:pt idx="17">
                  <c:v>40112</c:v>
                </c:pt>
                <c:pt idx="18">
                  <c:v>40113</c:v>
                </c:pt>
                <c:pt idx="19">
                  <c:v>40114</c:v>
                </c:pt>
                <c:pt idx="20">
                  <c:v>40115</c:v>
                </c:pt>
                <c:pt idx="21">
                  <c:v>40116</c:v>
                </c:pt>
                <c:pt idx="22">
                  <c:v>40119</c:v>
                </c:pt>
                <c:pt idx="23">
                  <c:v>40120</c:v>
                </c:pt>
                <c:pt idx="24">
                  <c:v>40121</c:v>
                </c:pt>
                <c:pt idx="25">
                  <c:v>40122</c:v>
                </c:pt>
                <c:pt idx="26">
                  <c:v>40123</c:v>
                </c:pt>
                <c:pt idx="27">
                  <c:v>40126</c:v>
                </c:pt>
                <c:pt idx="28">
                  <c:v>40127</c:v>
                </c:pt>
                <c:pt idx="29">
                  <c:v>40128</c:v>
                </c:pt>
                <c:pt idx="30">
                  <c:v>40129</c:v>
                </c:pt>
                <c:pt idx="31">
                  <c:v>40130</c:v>
                </c:pt>
                <c:pt idx="32">
                  <c:v>40133</c:v>
                </c:pt>
                <c:pt idx="33">
                  <c:v>40134</c:v>
                </c:pt>
                <c:pt idx="34">
                  <c:v>40135</c:v>
                </c:pt>
                <c:pt idx="35">
                  <c:v>40136</c:v>
                </c:pt>
                <c:pt idx="36">
                  <c:v>40137</c:v>
                </c:pt>
                <c:pt idx="37">
                  <c:v>40140</c:v>
                </c:pt>
                <c:pt idx="38">
                  <c:v>40141</c:v>
                </c:pt>
                <c:pt idx="39">
                  <c:v>40142</c:v>
                </c:pt>
                <c:pt idx="40">
                  <c:v>40143</c:v>
                </c:pt>
                <c:pt idx="41">
                  <c:v>40144</c:v>
                </c:pt>
                <c:pt idx="42">
                  <c:v>40147</c:v>
                </c:pt>
                <c:pt idx="43">
                  <c:v>40148</c:v>
                </c:pt>
                <c:pt idx="44">
                  <c:v>40149</c:v>
                </c:pt>
                <c:pt idx="45">
                  <c:v>40150</c:v>
                </c:pt>
                <c:pt idx="46">
                  <c:v>40151</c:v>
                </c:pt>
                <c:pt idx="47">
                  <c:v>40154</c:v>
                </c:pt>
                <c:pt idx="48">
                  <c:v>40155</c:v>
                </c:pt>
                <c:pt idx="49">
                  <c:v>40156</c:v>
                </c:pt>
                <c:pt idx="50">
                  <c:v>40157</c:v>
                </c:pt>
                <c:pt idx="51">
                  <c:v>40158</c:v>
                </c:pt>
                <c:pt idx="52">
                  <c:v>40161</c:v>
                </c:pt>
                <c:pt idx="53">
                  <c:v>40162</c:v>
                </c:pt>
                <c:pt idx="54">
                  <c:v>40163</c:v>
                </c:pt>
                <c:pt idx="55">
                  <c:v>40164</c:v>
                </c:pt>
                <c:pt idx="56">
                  <c:v>40165</c:v>
                </c:pt>
                <c:pt idx="57">
                  <c:v>40168</c:v>
                </c:pt>
                <c:pt idx="58">
                  <c:v>40169</c:v>
                </c:pt>
                <c:pt idx="59">
                  <c:v>40170</c:v>
                </c:pt>
                <c:pt idx="60">
                  <c:v>40171</c:v>
                </c:pt>
                <c:pt idx="61">
                  <c:v>40175</c:v>
                </c:pt>
                <c:pt idx="62">
                  <c:v>40176</c:v>
                </c:pt>
                <c:pt idx="63">
                  <c:v>40177</c:v>
                </c:pt>
                <c:pt idx="64">
                  <c:v>40178</c:v>
                </c:pt>
                <c:pt idx="65">
                  <c:v>40182</c:v>
                </c:pt>
                <c:pt idx="66">
                  <c:v>40183</c:v>
                </c:pt>
                <c:pt idx="67">
                  <c:v>40184</c:v>
                </c:pt>
                <c:pt idx="68">
                  <c:v>40185</c:v>
                </c:pt>
                <c:pt idx="69">
                  <c:v>40186</c:v>
                </c:pt>
                <c:pt idx="70">
                  <c:v>40189</c:v>
                </c:pt>
                <c:pt idx="71">
                  <c:v>40190</c:v>
                </c:pt>
                <c:pt idx="72">
                  <c:v>40191</c:v>
                </c:pt>
                <c:pt idx="73">
                  <c:v>40192</c:v>
                </c:pt>
                <c:pt idx="74">
                  <c:v>40193</c:v>
                </c:pt>
                <c:pt idx="75">
                  <c:v>40196</c:v>
                </c:pt>
                <c:pt idx="76">
                  <c:v>40197</c:v>
                </c:pt>
                <c:pt idx="77">
                  <c:v>40198</c:v>
                </c:pt>
                <c:pt idx="78">
                  <c:v>40199</c:v>
                </c:pt>
                <c:pt idx="79">
                  <c:v>40200</c:v>
                </c:pt>
                <c:pt idx="80">
                  <c:v>40203</c:v>
                </c:pt>
                <c:pt idx="81">
                  <c:v>40204</c:v>
                </c:pt>
                <c:pt idx="82">
                  <c:v>40205</c:v>
                </c:pt>
                <c:pt idx="83">
                  <c:v>40206</c:v>
                </c:pt>
                <c:pt idx="84">
                  <c:v>40207</c:v>
                </c:pt>
                <c:pt idx="85">
                  <c:v>40210</c:v>
                </c:pt>
                <c:pt idx="86">
                  <c:v>40211</c:v>
                </c:pt>
                <c:pt idx="87">
                  <c:v>40212</c:v>
                </c:pt>
                <c:pt idx="88">
                  <c:v>40213</c:v>
                </c:pt>
                <c:pt idx="89">
                  <c:v>40214</c:v>
                </c:pt>
                <c:pt idx="90">
                  <c:v>40217</c:v>
                </c:pt>
                <c:pt idx="91">
                  <c:v>40218</c:v>
                </c:pt>
                <c:pt idx="92">
                  <c:v>40219</c:v>
                </c:pt>
                <c:pt idx="93">
                  <c:v>40220</c:v>
                </c:pt>
                <c:pt idx="94">
                  <c:v>40221</c:v>
                </c:pt>
                <c:pt idx="95">
                  <c:v>40224</c:v>
                </c:pt>
                <c:pt idx="96">
                  <c:v>40225</c:v>
                </c:pt>
                <c:pt idx="97">
                  <c:v>40226</c:v>
                </c:pt>
                <c:pt idx="98">
                  <c:v>40227</c:v>
                </c:pt>
                <c:pt idx="99">
                  <c:v>40228</c:v>
                </c:pt>
                <c:pt idx="100">
                  <c:v>40231</c:v>
                </c:pt>
                <c:pt idx="101">
                  <c:v>40232</c:v>
                </c:pt>
                <c:pt idx="102">
                  <c:v>40233</c:v>
                </c:pt>
                <c:pt idx="103">
                  <c:v>40234</c:v>
                </c:pt>
                <c:pt idx="104">
                  <c:v>40235</c:v>
                </c:pt>
                <c:pt idx="105">
                  <c:v>40238</c:v>
                </c:pt>
                <c:pt idx="106">
                  <c:v>40239</c:v>
                </c:pt>
                <c:pt idx="107">
                  <c:v>40240</c:v>
                </c:pt>
                <c:pt idx="108">
                  <c:v>40241</c:v>
                </c:pt>
                <c:pt idx="109">
                  <c:v>40242</c:v>
                </c:pt>
                <c:pt idx="110">
                  <c:v>40245</c:v>
                </c:pt>
                <c:pt idx="111">
                  <c:v>40246</c:v>
                </c:pt>
                <c:pt idx="112">
                  <c:v>40247</c:v>
                </c:pt>
                <c:pt idx="113">
                  <c:v>40248</c:v>
                </c:pt>
                <c:pt idx="114">
                  <c:v>40249</c:v>
                </c:pt>
                <c:pt idx="115">
                  <c:v>40252</c:v>
                </c:pt>
                <c:pt idx="116">
                  <c:v>40253</c:v>
                </c:pt>
                <c:pt idx="117">
                  <c:v>40254</c:v>
                </c:pt>
                <c:pt idx="118">
                  <c:v>40255</c:v>
                </c:pt>
                <c:pt idx="119">
                  <c:v>40256</c:v>
                </c:pt>
                <c:pt idx="120">
                  <c:v>40259</c:v>
                </c:pt>
                <c:pt idx="121">
                  <c:v>40260</c:v>
                </c:pt>
                <c:pt idx="122">
                  <c:v>40261</c:v>
                </c:pt>
                <c:pt idx="123">
                  <c:v>40262</c:v>
                </c:pt>
                <c:pt idx="124">
                  <c:v>40263</c:v>
                </c:pt>
                <c:pt idx="125">
                  <c:v>40266</c:v>
                </c:pt>
                <c:pt idx="126">
                  <c:v>40267</c:v>
                </c:pt>
                <c:pt idx="127">
                  <c:v>40268</c:v>
                </c:pt>
                <c:pt idx="128">
                  <c:v>40269</c:v>
                </c:pt>
                <c:pt idx="129">
                  <c:v>40274</c:v>
                </c:pt>
                <c:pt idx="130">
                  <c:v>40275</c:v>
                </c:pt>
                <c:pt idx="131">
                  <c:v>40276</c:v>
                </c:pt>
                <c:pt idx="132">
                  <c:v>40277</c:v>
                </c:pt>
                <c:pt idx="133">
                  <c:v>40280</c:v>
                </c:pt>
                <c:pt idx="134">
                  <c:v>40281</c:v>
                </c:pt>
                <c:pt idx="135">
                  <c:v>40282</c:v>
                </c:pt>
                <c:pt idx="136">
                  <c:v>40283</c:v>
                </c:pt>
                <c:pt idx="137">
                  <c:v>40284</c:v>
                </c:pt>
                <c:pt idx="138">
                  <c:v>40287</c:v>
                </c:pt>
                <c:pt idx="139">
                  <c:v>40288</c:v>
                </c:pt>
                <c:pt idx="140">
                  <c:v>40289</c:v>
                </c:pt>
                <c:pt idx="141">
                  <c:v>40290</c:v>
                </c:pt>
                <c:pt idx="142">
                  <c:v>40291</c:v>
                </c:pt>
                <c:pt idx="143">
                  <c:v>40294</c:v>
                </c:pt>
                <c:pt idx="144">
                  <c:v>40295</c:v>
                </c:pt>
                <c:pt idx="145">
                  <c:v>40296</c:v>
                </c:pt>
                <c:pt idx="146">
                  <c:v>40297</c:v>
                </c:pt>
                <c:pt idx="147">
                  <c:v>40298</c:v>
                </c:pt>
                <c:pt idx="148">
                  <c:v>40301</c:v>
                </c:pt>
                <c:pt idx="149">
                  <c:v>40302</c:v>
                </c:pt>
                <c:pt idx="150">
                  <c:v>40303</c:v>
                </c:pt>
                <c:pt idx="151">
                  <c:v>40304</c:v>
                </c:pt>
                <c:pt idx="152">
                  <c:v>40305</c:v>
                </c:pt>
                <c:pt idx="153">
                  <c:v>40308</c:v>
                </c:pt>
                <c:pt idx="154">
                  <c:v>40309</c:v>
                </c:pt>
                <c:pt idx="155">
                  <c:v>40310</c:v>
                </c:pt>
                <c:pt idx="156">
                  <c:v>40311</c:v>
                </c:pt>
                <c:pt idx="157">
                  <c:v>40312</c:v>
                </c:pt>
                <c:pt idx="158">
                  <c:v>40315</c:v>
                </c:pt>
                <c:pt idx="159">
                  <c:v>40316</c:v>
                </c:pt>
                <c:pt idx="160">
                  <c:v>40317</c:v>
                </c:pt>
                <c:pt idx="161">
                  <c:v>40318</c:v>
                </c:pt>
                <c:pt idx="162">
                  <c:v>40319</c:v>
                </c:pt>
                <c:pt idx="163">
                  <c:v>40322</c:v>
                </c:pt>
                <c:pt idx="164">
                  <c:v>40323</c:v>
                </c:pt>
                <c:pt idx="165">
                  <c:v>40324</c:v>
                </c:pt>
                <c:pt idx="166">
                  <c:v>40325</c:v>
                </c:pt>
                <c:pt idx="167">
                  <c:v>40326</c:v>
                </c:pt>
                <c:pt idx="168">
                  <c:v>40329</c:v>
                </c:pt>
                <c:pt idx="169">
                  <c:v>40330</c:v>
                </c:pt>
                <c:pt idx="170">
                  <c:v>40331</c:v>
                </c:pt>
                <c:pt idx="171">
                  <c:v>40332</c:v>
                </c:pt>
                <c:pt idx="172">
                  <c:v>40333</c:v>
                </c:pt>
                <c:pt idx="173">
                  <c:v>40336</c:v>
                </c:pt>
                <c:pt idx="174">
                  <c:v>40337</c:v>
                </c:pt>
                <c:pt idx="175">
                  <c:v>40338</c:v>
                </c:pt>
                <c:pt idx="176">
                  <c:v>40339</c:v>
                </c:pt>
                <c:pt idx="177">
                  <c:v>40340</c:v>
                </c:pt>
                <c:pt idx="178">
                  <c:v>40343</c:v>
                </c:pt>
                <c:pt idx="179">
                  <c:v>40344</c:v>
                </c:pt>
                <c:pt idx="180">
                  <c:v>40345</c:v>
                </c:pt>
                <c:pt idx="181">
                  <c:v>40346</c:v>
                </c:pt>
                <c:pt idx="182">
                  <c:v>40347</c:v>
                </c:pt>
                <c:pt idx="183">
                  <c:v>40350</c:v>
                </c:pt>
                <c:pt idx="184">
                  <c:v>40351</c:v>
                </c:pt>
                <c:pt idx="185">
                  <c:v>40352</c:v>
                </c:pt>
                <c:pt idx="186">
                  <c:v>40353</c:v>
                </c:pt>
                <c:pt idx="187">
                  <c:v>40354</c:v>
                </c:pt>
                <c:pt idx="188">
                  <c:v>40357</c:v>
                </c:pt>
                <c:pt idx="189">
                  <c:v>40358</c:v>
                </c:pt>
                <c:pt idx="190">
                  <c:v>40359</c:v>
                </c:pt>
                <c:pt idx="191">
                  <c:v>40360</c:v>
                </c:pt>
                <c:pt idx="192">
                  <c:v>40361</c:v>
                </c:pt>
                <c:pt idx="193">
                  <c:v>40364</c:v>
                </c:pt>
                <c:pt idx="194">
                  <c:v>40365</c:v>
                </c:pt>
                <c:pt idx="195">
                  <c:v>40366</c:v>
                </c:pt>
                <c:pt idx="196">
                  <c:v>40367</c:v>
                </c:pt>
                <c:pt idx="197">
                  <c:v>40368</c:v>
                </c:pt>
                <c:pt idx="198">
                  <c:v>40371</c:v>
                </c:pt>
                <c:pt idx="199">
                  <c:v>40372</c:v>
                </c:pt>
                <c:pt idx="200">
                  <c:v>40373</c:v>
                </c:pt>
                <c:pt idx="201">
                  <c:v>40374</c:v>
                </c:pt>
                <c:pt idx="202">
                  <c:v>40375</c:v>
                </c:pt>
                <c:pt idx="203">
                  <c:v>40378</c:v>
                </c:pt>
                <c:pt idx="204">
                  <c:v>40379</c:v>
                </c:pt>
                <c:pt idx="205">
                  <c:v>40380</c:v>
                </c:pt>
                <c:pt idx="206">
                  <c:v>40381</c:v>
                </c:pt>
                <c:pt idx="207">
                  <c:v>40382</c:v>
                </c:pt>
                <c:pt idx="208">
                  <c:v>40385</c:v>
                </c:pt>
                <c:pt idx="209">
                  <c:v>40386</c:v>
                </c:pt>
                <c:pt idx="210">
                  <c:v>40387</c:v>
                </c:pt>
                <c:pt idx="211">
                  <c:v>40388</c:v>
                </c:pt>
                <c:pt idx="212">
                  <c:v>40389</c:v>
                </c:pt>
                <c:pt idx="213">
                  <c:v>40392</c:v>
                </c:pt>
                <c:pt idx="214">
                  <c:v>40393</c:v>
                </c:pt>
                <c:pt idx="215">
                  <c:v>40394</c:v>
                </c:pt>
                <c:pt idx="216">
                  <c:v>40395</c:v>
                </c:pt>
                <c:pt idx="217">
                  <c:v>40396</c:v>
                </c:pt>
                <c:pt idx="218">
                  <c:v>40399</c:v>
                </c:pt>
                <c:pt idx="219">
                  <c:v>40400</c:v>
                </c:pt>
                <c:pt idx="220">
                  <c:v>40401</c:v>
                </c:pt>
                <c:pt idx="221">
                  <c:v>40402</c:v>
                </c:pt>
                <c:pt idx="222">
                  <c:v>40403</c:v>
                </c:pt>
                <c:pt idx="223">
                  <c:v>40406</c:v>
                </c:pt>
                <c:pt idx="224">
                  <c:v>40407</c:v>
                </c:pt>
                <c:pt idx="225">
                  <c:v>40408</c:v>
                </c:pt>
                <c:pt idx="226">
                  <c:v>40409</c:v>
                </c:pt>
                <c:pt idx="227">
                  <c:v>40410</c:v>
                </c:pt>
                <c:pt idx="228">
                  <c:v>40413</c:v>
                </c:pt>
                <c:pt idx="229">
                  <c:v>40414</c:v>
                </c:pt>
                <c:pt idx="230">
                  <c:v>40415</c:v>
                </c:pt>
                <c:pt idx="231">
                  <c:v>40416</c:v>
                </c:pt>
                <c:pt idx="232">
                  <c:v>40417</c:v>
                </c:pt>
                <c:pt idx="233">
                  <c:v>40420</c:v>
                </c:pt>
                <c:pt idx="234">
                  <c:v>40421</c:v>
                </c:pt>
                <c:pt idx="235">
                  <c:v>40422</c:v>
                </c:pt>
                <c:pt idx="236">
                  <c:v>40423</c:v>
                </c:pt>
                <c:pt idx="237">
                  <c:v>40424</c:v>
                </c:pt>
                <c:pt idx="238">
                  <c:v>40427</c:v>
                </c:pt>
                <c:pt idx="239">
                  <c:v>40428</c:v>
                </c:pt>
                <c:pt idx="240">
                  <c:v>40429</c:v>
                </c:pt>
                <c:pt idx="241">
                  <c:v>40430</c:v>
                </c:pt>
                <c:pt idx="242">
                  <c:v>40431</c:v>
                </c:pt>
                <c:pt idx="243">
                  <c:v>40434</c:v>
                </c:pt>
                <c:pt idx="244">
                  <c:v>40435</c:v>
                </c:pt>
                <c:pt idx="245">
                  <c:v>40436</c:v>
                </c:pt>
                <c:pt idx="246">
                  <c:v>40437</c:v>
                </c:pt>
                <c:pt idx="247">
                  <c:v>40438</c:v>
                </c:pt>
                <c:pt idx="248">
                  <c:v>40441</c:v>
                </c:pt>
                <c:pt idx="249">
                  <c:v>40442</c:v>
                </c:pt>
                <c:pt idx="250">
                  <c:v>40443</c:v>
                </c:pt>
                <c:pt idx="251">
                  <c:v>40444</c:v>
                </c:pt>
                <c:pt idx="252">
                  <c:v>40445</c:v>
                </c:pt>
                <c:pt idx="253">
                  <c:v>40448</c:v>
                </c:pt>
                <c:pt idx="254">
                  <c:v>40449</c:v>
                </c:pt>
                <c:pt idx="255">
                  <c:v>40450</c:v>
                </c:pt>
                <c:pt idx="256">
                  <c:v>40451</c:v>
                </c:pt>
                <c:pt idx="257">
                  <c:v>40452</c:v>
                </c:pt>
                <c:pt idx="258">
                  <c:v>40455</c:v>
                </c:pt>
                <c:pt idx="259">
                  <c:v>40456</c:v>
                </c:pt>
                <c:pt idx="260">
                  <c:v>40457</c:v>
                </c:pt>
                <c:pt idx="261">
                  <c:v>40458</c:v>
                </c:pt>
                <c:pt idx="262">
                  <c:v>40459</c:v>
                </c:pt>
                <c:pt idx="263">
                  <c:v>40462</c:v>
                </c:pt>
                <c:pt idx="264">
                  <c:v>40463</c:v>
                </c:pt>
                <c:pt idx="265">
                  <c:v>40464</c:v>
                </c:pt>
                <c:pt idx="266">
                  <c:v>40465</c:v>
                </c:pt>
                <c:pt idx="267">
                  <c:v>40466</c:v>
                </c:pt>
                <c:pt idx="268">
                  <c:v>40469</c:v>
                </c:pt>
                <c:pt idx="269">
                  <c:v>40470</c:v>
                </c:pt>
                <c:pt idx="270">
                  <c:v>40471</c:v>
                </c:pt>
                <c:pt idx="271">
                  <c:v>40472</c:v>
                </c:pt>
                <c:pt idx="272">
                  <c:v>40473</c:v>
                </c:pt>
                <c:pt idx="273">
                  <c:v>40476</c:v>
                </c:pt>
                <c:pt idx="274">
                  <c:v>40477</c:v>
                </c:pt>
                <c:pt idx="275">
                  <c:v>40478</c:v>
                </c:pt>
                <c:pt idx="276">
                  <c:v>40479</c:v>
                </c:pt>
                <c:pt idx="277">
                  <c:v>40480</c:v>
                </c:pt>
                <c:pt idx="278">
                  <c:v>40483</c:v>
                </c:pt>
                <c:pt idx="279">
                  <c:v>40484</c:v>
                </c:pt>
                <c:pt idx="280">
                  <c:v>40485</c:v>
                </c:pt>
                <c:pt idx="281">
                  <c:v>40486</c:v>
                </c:pt>
                <c:pt idx="282">
                  <c:v>40487</c:v>
                </c:pt>
                <c:pt idx="283">
                  <c:v>40490</c:v>
                </c:pt>
                <c:pt idx="284">
                  <c:v>40491</c:v>
                </c:pt>
                <c:pt idx="285">
                  <c:v>40492</c:v>
                </c:pt>
                <c:pt idx="286">
                  <c:v>40493</c:v>
                </c:pt>
                <c:pt idx="287">
                  <c:v>40494</c:v>
                </c:pt>
                <c:pt idx="288">
                  <c:v>40497</c:v>
                </c:pt>
                <c:pt idx="289">
                  <c:v>40498</c:v>
                </c:pt>
                <c:pt idx="290">
                  <c:v>40499</c:v>
                </c:pt>
                <c:pt idx="291">
                  <c:v>40500</c:v>
                </c:pt>
                <c:pt idx="292">
                  <c:v>40501</c:v>
                </c:pt>
                <c:pt idx="293">
                  <c:v>40504</c:v>
                </c:pt>
                <c:pt idx="294">
                  <c:v>40505</c:v>
                </c:pt>
                <c:pt idx="295">
                  <c:v>40506</c:v>
                </c:pt>
                <c:pt idx="296">
                  <c:v>40507</c:v>
                </c:pt>
                <c:pt idx="297">
                  <c:v>40508</c:v>
                </c:pt>
                <c:pt idx="298">
                  <c:v>40511</c:v>
                </c:pt>
                <c:pt idx="299">
                  <c:v>40512</c:v>
                </c:pt>
                <c:pt idx="300">
                  <c:v>40513</c:v>
                </c:pt>
                <c:pt idx="301">
                  <c:v>40514</c:v>
                </c:pt>
                <c:pt idx="302">
                  <c:v>40515</c:v>
                </c:pt>
                <c:pt idx="303">
                  <c:v>40518</c:v>
                </c:pt>
                <c:pt idx="304">
                  <c:v>40519</c:v>
                </c:pt>
                <c:pt idx="305">
                  <c:v>40520</c:v>
                </c:pt>
                <c:pt idx="306">
                  <c:v>40521</c:v>
                </c:pt>
                <c:pt idx="307">
                  <c:v>40522</c:v>
                </c:pt>
                <c:pt idx="308">
                  <c:v>40525</c:v>
                </c:pt>
                <c:pt idx="309">
                  <c:v>40526</c:v>
                </c:pt>
                <c:pt idx="310">
                  <c:v>40527</c:v>
                </c:pt>
                <c:pt idx="311">
                  <c:v>40528</c:v>
                </c:pt>
                <c:pt idx="312">
                  <c:v>40529</c:v>
                </c:pt>
                <c:pt idx="313">
                  <c:v>40532</c:v>
                </c:pt>
                <c:pt idx="314">
                  <c:v>40533</c:v>
                </c:pt>
                <c:pt idx="315">
                  <c:v>40534</c:v>
                </c:pt>
                <c:pt idx="316">
                  <c:v>40535</c:v>
                </c:pt>
                <c:pt idx="317">
                  <c:v>40536</c:v>
                </c:pt>
                <c:pt idx="318">
                  <c:v>40539</c:v>
                </c:pt>
                <c:pt idx="319">
                  <c:v>40540</c:v>
                </c:pt>
                <c:pt idx="320">
                  <c:v>40541</c:v>
                </c:pt>
                <c:pt idx="321">
                  <c:v>40542</c:v>
                </c:pt>
                <c:pt idx="322">
                  <c:v>40543</c:v>
                </c:pt>
                <c:pt idx="323">
                  <c:v>40546</c:v>
                </c:pt>
                <c:pt idx="324">
                  <c:v>40547</c:v>
                </c:pt>
                <c:pt idx="325">
                  <c:v>40548</c:v>
                </c:pt>
                <c:pt idx="326">
                  <c:v>40549</c:v>
                </c:pt>
                <c:pt idx="327">
                  <c:v>40550</c:v>
                </c:pt>
                <c:pt idx="328">
                  <c:v>40553</c:v>
                </c:pt>
                <c:pt idx="329">
                  <c:v>40554</c:v>
                </c:pt>
                <c:pt idx="330">
                  <c:v>40555</c:v>
                </c:pt>
                <c:pt idx="331">
                  <c:v>40556</c:v>
                </c:pt>
                <c:pt idx="332">
                  <c:v>40557</c:v>
                </c:pt>
                <c:pt idx="333">
                  <c:v>40560</c:v>
                </c:pt>
                <c:pt idx="334">
                  <c:v>40561</c:v>
                </c:pt>
                <c:pt idx="335">
                  <c:v>40562</c:v>
                </c:pt>
                <c:pt idx="336">
                  <c:v>40563</c:v>
                </c:pt>
                <c:pt idx="337">
                  <c:v>40564</c:v>
                </c:pt>
                <c:pt idx="338">
                  <c:v>40567</c:v>
                </c:pt>
                <c:pt idx="339">
                  <c:v>40568</c:v>
                </c:pt>
                <c:pt idx="340">
                  <c:v>40569</c:v>
                </c:pt>
                <c:pt idx="341">
                  <c:v>40570</c:v>
                </c:pt>
                <c:pt idx="342">
                  <c:v>40571</c:v>
                </c:pt>
                <c:pt idx="343">
                  <c:v>40574</c:v>
                </c:pt>
                <c:pt idx="344">
                  <c:v>40575</c:v>
                </c:pt>
                <c:pt idx="345">
                  <c:v>40576</c:v>
                </c:pt>
                <c:pt idx="346">
                  <c:v>40577</c:v>
                </c:pt>
                <c:pt idx="347">
                  <c:v>40578</c:v>
                </c:pt>
                <c:pt idx="348">
                  <c:v>40581</c:v>
                </c:pt>
                <c:pt idx="349">
                  <c:v>40582</c:v>
                </c:pt>
                <c:pt idx="350">
                  <c:v>40583</c:v>
                </c:pt>
                <c:pt idx="351">
                  <c:v>40584</c:v>
                </c:pt>
                <c:pt idx="352">
                  <c:v>40585</c:v>
                </c:pt>
                <c:pt idx="353">
                  <c:v>40588</c:v>
                </c:pt>
                <c:pt idx="354">
                  <c:v>40589</c:v>
                </c:pt>
                <c:pt idx="355">
                  <c:v>40590</c:v>
                </c:pt>
                <c:pt idx="356">
                  <c:v>40591</c:v>
                </c:pt>
                <c:pt idx="357">
                  <c:v>40592</c:v>
                </c:pt>
                <c:pt idx="358">
                  <c:v>40595</c:v>
                </c:pt>
                <c:pt idx="359">
                  <c:v>40596</c:v>
                </c:pt>
                <c:pt idx="360">
                  <c:v>40597</c:v>
                </c:pt>
                <c:pt idx="361">
                  <c:v>40598</c:v>
                </c:pt>
                <c:pt idx="362">
                  <c:v>40599</c:v>
                </c:pt>
                <c:pt idx="363">
                  <c:v>40602</c:v>
                </c:pt>
                <c:pt idx="364">
                  <c:v>40603</c:v>
                </c:pt>
                <c:pt idx="365">
                  <c:v>40604</c:v>
                </c:pt>
                <c:pt idx="366">
                  <c:v>40605</c:v>
                </c:pt>
                <c:pt idx="367">
                  <c:v>40606</c:v>
                </c:pt>
                <c:pt idx="368">
                  <c:v>40609</c:v>
                </c:pt>
                <c:pt idx="369">
                  <c:v>40610</c:v>
                </c:pt>
                <c:pt idx="370">
                  <c:v>40611</c:v>
                </c:pt>
                <c:pt idx="371">
                  <c:v>40612</c:v>
                </c:pt>
                <c:pt idx="372">
                  <c:v>40613</c:v>
                </c:pt>
                <c:pt idx="373">
                  <c:v>40616</c:v>
                </c:pt>
                <c:pt idx="374">
                  <c:v>40617</c:v>
                </c:pt>
                <c:pt idx="375">
                  <c:v>40618</c:v>
                </c:pt>
                <c:pt idx="376">
                  <c:v>40619</c:v>
                </c:pt>
                <c:pt idx="377">
                  <c:v>40620</c:v>
                </c:pt>
                <c:pt idx="378">
                  <c:v>40623</c:v>
                </c:pt>
                <c:pt idx="379">
                  <c:v>40624</c:v>
                </c:pt>
                <c:pt idx="380">
                  <c:v>40625</c:v>
                </c:pt>
                <c:pt idx="381">
                  <c:v>40626</c:v>
                </c:pt>
                <c:pt idx="382">
                  <c:v>40627</c:v>
                </c:pt>
                <c:pt idx="383">
                  <c:v>40630</c:v>
                </c:pt>
                <c:pt idx="384">
                  <c:v>40631</c:v>
                </c:pt>
                <c:pt idx="385">
                  <c:v>40632</c:v>
                </c:pt>
                <c:pt idx="386">
                  <c:v>40633</c:v>
                </c:pt>
                <c:pt idx="387">
                  <c:v>40634</c:v>
                </c:pt>
                <c:pt idx="388">
                  <c:v>40637</c:v>
                </c:pt>
                <c:pt idx="389">
                  <c:v>40638</c:v>
                </c:pt>
                <c:pt idx="390">
                  <c:v>40639</c:v>
                </c:pt>
                <c:pt idx="391">
                  <c:v>40640</c:v>
                </c:pt>
                <c:pt idx="392">
                  <c:v>40641</c:v>
                </c:pt>
                <c:pt idx="393">
                  <c:v>40644</c:v>
                </c:pt>
                <c:pt idx="394">
                  <c:v>40645</c:v>
                </c:pt>
                <c:pt idx="395">
                  <c:v>40646</c:v>
                </c:pt>
                <c:pt idx="396">
                  <c:v>40647</c:v>
                </c:pt>
                <c:pt idx="397">
                  <c:v>40648</c:v>
                </c:pt>
                <c:pt idx="398">
                  <c:v>40651</c:v>
                </c:pt>
                <c:pt idx="399">
                  <c:v>40652</c:v>
                </c:pt>
                <c:pt idx="400">
                  <c:v>40653</c:v>
                </c:pt>
                <c:pt idx="401">
                  <c:v>40654</c:v>
                </c:pt>
                <c:pt idx="402">
                  <c:v>40659</c:v>
                </c:pt>
                <c:pt idx="403">
                  <c:v>40660</c:v>
                </c:pt>
                <c:pt idx="404">
                  <c:v>40661</c:v>
                </c:pt>
                <c:pt idx="405">
                  <c:v>40662</c:v>
                </c:pt>
                <c:pt idx="406">
                  <c:v>40665</c:v>
                </c:pt>
                <c:pt idx="407">
                  <c:v>40666</c:v>
                </c:pt>
                <c:pt idx="408">
                  <c:v>40667</c:v>
                </c:pt>
                <c:pt idx="409">
                  <c:v>40668</c:v>
                </c:pt>
                <c:pt idx="410">
                  <c:v>40669</c:v>
                </c:pt>
                <c:pt idx="411">
                  <c:v>40672</c:v>
                </c:pt>
                <c:pt idx="412">
                  <c:v>40673</c:v>
                </c:pt>
                <c:pt idx="413">
                  <c:v>40674</c:v>
                </c:pt>
                <c:pt idx="414">
                  <c:v>40675</c:v>
                </c:pt>
                <c:pt idx="415">
                  <c:v>40676</c:v>
                </c:pt>
                <c:pt idx="416">
                  <c:v>40679</c:v>
                </c:pt>
                <c:pt idx="417">
                  <c:v>40680</c:v>
                </c:pt>
                <c:pt idx="418">
                  <c:v>40681</c:v>
                </c:pt>
                <c:pt idx="419">
                  <c:v>40682</c:v>
                </c:pt>
                <c:pt idx="420">
                  <c:v>40683</c:v>
                </c:pt>
                <c:pt idx="421">
                  <c:v>40686</c:v>
                </c:pt>
                <c:pt idx="422">
                  <c:v>40687</c:v>
                </c:pt>
                <c:pt idx="423">
                  <c:v>40688</c:v>
                </c:pt>
                <c:pt idx="424">
                  <c:v>40689</c:v>
                </c:pt>
                <c:pt idx="425">
                  <c:v>40690</c:v>
                </c:pt>
                <c:pt idx="426">
                  <c:v>40693</c:v>
                </c:pt>
                <c:pt idx="427">
                  <c:v>40694</c:v>
                </c:pt>
                <c:pt idx="428">
                  <c:v>40695</c:v>
                </c:pt>
                <c:pt idx="429">
                  <c:v>40696</c:v>
                </c:pt>
                <c:pt idx="430">
                  <c:v>40697</c:v>
                </c:pt>
                <c:pt idx="431">
                  <c:v>40700</c:v>
                </c:pt>
                <c:pt idx="432">
                  <c:v>40701</c:v>
                </c:pt>
                <c:pt idx="433">
                  <c:v>40702</c:v>
                </c:pt>
                <c:pt idx="434">
                  <c:v>40703</c:v>
                </c:pt>
                <c:pt idx="435">
                  <c:v>40704</c:v>
                </c:pt>
                <c:pt idx="436">
                  <c:v>40707</c:v>
                </c:pt>
                <c:pt idx="437">
                  <c:v>40708</c:v>
                </c:pt>
                <c:pt idx="438">
                  <c:v>40709</c:v>
                </c:pt>
                <c:pt idx="439">
                  <c:v>40710</c:v>
                </c:pt>
                <c:pt idx="440">
                  <c:v>40711</c:v>
                </c:pt>
                <c:pt idx="441">
                  <c:v>40714</c:v>
                </c:pt>
                <c:pt idx="442">
                  <c:v>40715</c:v>
                </c:pt>
                <c:pt idx="443">
                  <c:v>40716</c:v>
                </c:pt>
                <c:pt idx="444">
                  <c:v>40717</c:v>
                </c:pt>
                <c:pt idx="445">
                  <c:v>40718</c:v>
                </c:pt>
                <c:pt idx="446">
                  <c:v>40721</c:v>
                </c:pt>
                <c:pt idx="447">
                  <c:v>40722</c:v>
                </c:pt>
                <c:pt idx="448">
                  <c:v>40723</c:v>
                </c:pt>
                <c:pt idx="449">
                  <c:v>40724</c:v>
                </c:pt>
                <c:pt idx="450">
                  <c:v>40725</c:v>
                </c:pt>
                <c:pt idx="451">
                  <c:v>40728</c:v>
                </c:pt>
                <c:pt idx="452">
                  <c:v>40729</c:v>
                </c:pt>
                <c:pt idx="453">
                  <c:v>40730</c:v>
                </c:pt>
                <c:pt idx="454">
                  <c:v>40731</c:v>
                </c:pt>
                <c:pt idx="455">
                  <c:v>40732</c:v>
                </c:pt>
                <c:pt idx="456">
                  <c:v>40735</c:v>
                </c:pt>
                <c:pt idx="457">
                  <c:v>40736</c:v>
                </c:pt>
                <c:pt idx="458">
                  <c:v>40737</c:v>
                </c:pt>
                <c:pt idx="459">
                  <c:v>40738</c:v>
                </c:pt>
                <c:pt idx="460">
                  <c:v>40739</c:v>
                </c:pt>
                <c:pt idx="461">
                  <c:v>40742</c:v>
                </c:pt>
                <c:pt idx="462">
                  <c:v>40743</c:v>
                </c:pt>
                <c:pt idx="463">
                  <c:v>40744</c:v>
                </c:pt>
                <c:pt idx="464">
                  <c:v>40745</c:v>
                </c:pt>
                <c:pt idx="465">
                  <c:v>40746</c:v>
                </c:pt>
                <c:pt idx="466">
                  <c:v>40749</c:v>
                </c:pt>
                <c:pt idx="467">
                  <c:v>40750</c:v>
                </c:pt>
                <c:pt idx="468">
                  <c:v>40751</c:v>
                </c:pt>
                <c:pt idx="469">
                  <c:v>40752</c:v>
                </c:pt>
                <c:pt idx="470">
                  <c:v>40753</c:v>
                </c:pt>
                <c:pt idx="471">
                  <c:v>40756</c:v>
                </c:pt>
                <c:pt idx="472">
                  <c:v>40757</c:v>
                </c:pt>
                <c:pt idx="473">
                  <c:v>40758</c:v>
                </c:pt>
                <c:pt idx="474">
                  <c:v>40759</c:v>
                </c:pt>
                <c:pt idx="475">
                  <c:v>40760</c:v>
                </c:pt>
                <c:pt idx="476">
                  <c:v>40763</c:v>
                </c:pt>
                <c:pt idx="477">
                  <c:v>40764</c:v>
                </c:pt>
                <c:pt idx="478">
                  <c:v>40765</c:v>
                </c:pt>
                <c:pt idx="479">
                  <c:v>40766</c:v>
                </c:pt>
                <c:pt idx="480">
                  <c:v>40767</c:v>
                </c:pt>
                <c:pt idx="481">
                  <c:v>40770</c:v>
                </c:pt>
                <c:pt idx="482">
                  <c:v>40771</c:v>
                </c:pt>
                <c:pt idx="483">
                  <c:v>40772</c:v>
                </c:pt>
                <c:pt idx="484">
                  <c:v>40773</c:v>
                </c:pt>
                <c:pt idx="485">
                  <c:v>40774</c:v>
                </c:pt>
                <c:pt idx="486">
                  <c:v>40777</c:v>
                </c:pt>
                <c:pt idx="487">
                  <c:v>40778</c:v>
                </c:pt>
                <c:pt idx="488">
                  <c:v>40779</c:v>
                </c:pt>
                <c:pt idx="489">
                  <c:v>40780</c:v>
                </c:pt>
                <c:pt idx="490">
                  <c:v>40781</c:v>
                </c:pt>
                <c:pt idx="491">
                  <c:v>40784</c:v>
                </c:pt>
                <c:pt idx="492">
                  <c:v>40785</c:v>
                </c:pt>
                <c:pt idx="493">
                  <c:v>40786</c:v>
                </c:pt>
                <c:pt idx="494">
                  <c:v>40787</c:v>
                </c:pt>
                <c:pt idx="495">
                  <c:v>40788</c:v>
                </c:pt>
                <c:pt idx="496">
                  <c:v>40791</c:v>
                </c:pt>
                <c:pt idx="497">
                  <c:v>40792</c:v>
                </c:pt>
                <c:pt idx="498">
                  <c:v>40793</c:v>
                </c:pt>
                <c:pt idx="499">
                  <c:v>40794</c:v>
                </c:pt>
                <c:pt idx="500">
                  <c:v>40795</c:v>
                </c:pt>
                <c:pt idx="501">
                  <c:v>40798</c:v>
                </c:pt>
                <c:pt idx="502">
                  <c:v>40799</c:v>
                </c:pt>
                <c:pt idx="503">
                  <c:v>40800</c:v>
                </c:pt>
                <c:pt idx="504">
                  <c:v>40801</c:v>
                </c:pt>
                <c:pt idx="505">
                  <c:v>40802</c:v>
                </c:pt>
                <c:pt idx="506">
                  <c:v>40805</c:v>
                </c:pt>
                <c:pt idx="507">
                  <c:v>40806</c:v>
                </c:pt>
                <c:pt idx="508">
                  <c:v>40807</c:v>
                </c:pt>
                <c:pt idx="509">
                  <c:v>40808</c:v>
                </c:pt>
                <c:pt idx="510">
                  <c:v>40809</c:v>
                </c:pt>
                <c:pt idx="511">
                  <c:v>40812</c:v>
                </c:pt>
                <c:pt idx="512">
                  <c:v>40813</c:v>
                </c:pt>
                <c:pt idx="513">
                  <c:v>40814</c:v>
                </c:pt>
                <c:pt idx="514">
                  <c:v>40815</c:v>
                </c:pt>
                <c:pt idx="515">
                  <c:v>40816</c:v>
                </c:pt>
                <c:pt idx="516">
                  <c:v>40819</c:v>
                </c:pt>
                <c:pt idx="517">
                  <c:v>40820</c:v>
                </c:pt>
                <c:pt idx="518">
                  <c:v>40821</c:v>
                </c:pt>
                <c:pt idx="519">
                  <c:v>40822</c:v>
                </c:pt>
                <c:pt idx="520">
                  <c:v>40823</c:v>
                </c:pt>
                <c:pt idx="521">
                  <c:v>40826</c:v>
                </c:pt>
                <c:pt idx="522">
                  <c:v>40827</c:v>
                </c:pt>
                <c:pt idx="523">
                  <c:v>40828</c:v>
                </c:pt>
                <c:pt idx="524">
                  <c:v>40829</c:v>
                </c:pt>
                <c:pt idx="525">
                  <c:v>40830</c:v>
                </c:pt>
                <c:pt idx="526">
                  <c:v>40833</c:v>
                </c:pt>
                <c:pt idx="527">
                  <c:v>40834</c:v>
                </c:pt>
                <c:pt idx="528">
                  <c:v>40835</c:v>
                </c:pt>
                <c:pt idx="529">
                  <c:v>40836</c:v>
                </c:pt>
                <c:pt idx="530">
                  <c:v>40837</c:v>
                </c:pt>
                <c:pt idx="531">
                  <c:v>40840</c:v>
                </c:pt>
                <c:pt idx="532">
                  <c:v>40841</c:v>
                </c:pt>
                <c:pt idx="533">
                  <c:v>40842</c:v>
                </c:pt>
                <c:pt idx="534">
                  <c:v>40843</c:v>
                </c:pt>
                <c:pt idx="535">
                  <c:v>40844</c:v>
                </c:pt>
                <c:pt idx="536">
                  <c:v>40847</c:v>
                </c:pt>
                <c:pt idx="537">
                  <c:v>40848</c:v>
                </c:pt>
                <c:pt idx="538">
                  <c:v>40849</c:v>
                </c:pt>
                <c:pt idx="539">
                  <c:v>40850</c:v>
                </c:pt>
                <c:pt idx="540">
                  <c:v>40851</c:v>
                </c:pt>
                <c:pt idx="541">
                  <c:v>40854</c:v>
                </c:pt>
                <c:pt idx="542">
                  <c:v>40855</c:v>
                </c:pt>
                <c:pt idx="543">
                  <c:v>40856</c:v>
                </c:pt>
                <c:pt idx="544">
                  <c:v>40857</c:v>
                </c:pt>
                <c:pt idx="545">
                  <c:v>40858</c:v>
                </c:pt>
                <c:pt idx="546">
                  <c:v>40861</c:v>
                </c:pt>
                <c:pt idx="547">
                  <c:v>40862</c:v>
                </c:pt>
                <c:pt idx="548">
                  <c:v>40863</c:v>
                </c:pt>
                <c:pt idx="549">
                  <c:v>40864</c:v>
                </c:pt>
                <c:pt idx="550">
                  <c:v>40865</c:v>
                </c:pt>
                <c:pt idx="551">
                  <c:v>40868</c:v>
                </c:pt>
                <c:pt idx="552">
                  <c:v>40869</c:v>
                </c:pt>
                <c:pt idx="553">
                  <c:v>40870</c:v>
                </c:pt>
                <c:pt idx="554">
                  <c:v>40871</c:v>
                </c:pt>
                <c:pt idx="555">
                  <c:v>40872</c:v>
                </c:pt>
                <c:pt idx="556">
                  <c:v>40875</c:v>
                </c:pt>
                <c:pt idx="557">
                  <c:v>40876</c:v>
                </c:pt>
                <c:pt idx="558">
                  <c:v>40877</c:v>
                </c:pt>
                <c:pt idx="559">
                  <c:v>40878</c:v>
                </c:pt>
                <c:pt idx="560">
                  <c:v>40879</c:v>
                </c:pt>
                <c:pt idx="561">
                  <c:v>40882</c:v>
                </c:pt>
                <c:pt idx="562">
                  <c:v>40883</c:v>
                </c:pt>
                <c:pt idx="563">
                  <c:v>40884</c:v>
                </c:pt>
                <c:pt idx="564">
                  <c:v>40885</c:v>
                </c:pt>
                <c:pt idx="565">
                  <c:v>40886</c:v>
                </c:pt>
                <c:pt idx="566">
                  <c:v>40889</c:v>
                </c:pt>
                <c:pt idx="567">
                  <c:v>40890</c:v>
                </c:pt>
                <c:pt idx="568">
                  <c:v>40891</c:v>
                </c:pt>
                <c:pt idx="569">
                  <c:v>40892</c:v>
                </c:pt>
                <c:pt idx="570">
                  <c:v>40893</c:v>
                </c:pt>
                <c:pt idx="571">
                  <c:v>40896</c:v>
                </c:pt>
                <c:pt idx="572">
                  <c:v>40897</c:v>
                </c:pt>
                <c:pt idx="573">
                  <c:v>40898</c:v>
                </c:pt>
                <c:pt idx="574">
                  <c:v>40899</c:v>
                </c:pt>
                <c:pt idx="575">
                  <c:v>40900</c:v>
                </c:pt>
                <c:pt idx="576">
                  <c:v>40904</c:v>
                </c:pt>
                <c:pt idx="577">
                  <c:v>40905</c:v>
                </c:pt>
                <c:pt idx="578">
                  <c:v>40906</c:v>
                </c:pt>
                <c:pt idx="579">
                  <c:v>40907</c:v>
                </c:pt>
                <c:pt idx="580">
                  <c:v>40910</c:v>
                </c:pt>
                <c:pt idx="581">
                  <c:v>40911</c:v>
                </c:pt>
                <c:pt idx="582">
                  <c:v>40912</c:v>
                </c:pt>
                <c:pt idx="583">
                  <c:v>40913</c:v>
                </c:pt>
                <c:pt idx="584">
                  <c:v>40914</c:v>
                </c:pt>
                <c:pt idx="585">
                  <c:v>40917</c:v>
                </c:pt>
                <c:pt idx="586">
                  <c:v>40918</c:v>
                </c:pt>
                <c:pt idx="587">
                  <c:v>40919</c:v>
                </c:pt>
                <c:pt idx="588">
                  <c:v>40920</c:v>
                </c:pt>
                <c:pt idx="589">
                  <c:v>40921</c:v>
                </c:pt>
                <c:pt idx="590">
                  <c:v>40924</c:v>
                </c:pt>
                <c:pt idx="591">
                  <c:v>40925</c:v>
                </c:pt>
                <c:pt idx="592">
                  <c:v>40926</c:v>
                </c:pt>
                <c:pt idx="593">
                  <c:v>40927</c:v>
                </c:pt>
                <c:pt idx="594">
                  <c:v>40928</c:v>
                </c:pt>
                <c:pt idx="595">
                  <c:v>40931</c:v>
                </c:pt>
                <c:pt idx="596">
                  <c:v>40932</c:v>
                </c:pt>
                <c:pt idx="597">
                  <c:v>40933</c:v>
                </c:pt>
                <c:pt idx="598">
                  <c:v>40934</c:v>
                </c:pt>
                <c:pt idx="599">
                  <c:v>40935</c:v>
                </c:pt>
                <c:pt idx="600">
                  <c:v>40938</c:v>
                </c:pt>
                <c:pt idx="601">
                  <c:v>40939</c:v>
                </c:pt>
                <c:pt idx="602">
                  <c:v>40940</c:v>
                </c:pt>
                <c:pt idx="603">
                  <c:v>40941</c:v>
                </c:pt>
                <c:pt idx="604">
                  <c:v>40942</c:v>
                </c:pt>
                <c:pt idx="605">
                  <c:v>40945</c:v>
                </c:pt>
                <c:pt idx="606">
                  <c:v>40946</c:v>
                </c:pt>
                <c:pt idx="607">
                  <c:v>40947</c:v>
                </c:pt>
                <c:pt idx="608">
                  <c:v>40948</c:v>
                </c:pt>
                <c:pt idx="609">
                  <c:v>40949</c:v>
                </c:pt>
                <c:pt idx="610">
                  <c:v>40952</c:v>
                </c:pt>
                <c:pt idx="611">
                  <c:v>40953</c:v>
                </c:pt>
                <c:pt idx="612">
                  <c:v>40954</c:v>
                </c:pt>
                <c:pt idx="613">
                  <c:v>40955</c:v>
                </c:pt>
                <c:pt idx="614">
                  <c:v>40956</c:v>
                </c:pt>
                <c:pt idx="615">
                  <c:v>40959</c:v>
                </c:pt>
                <c:pt idx="616">
                  <c:v>40960</c:v>
                </c:pt>
                <c:pt idx="617">
                  <c:v>40961</c:v>
                </c:pt>
                <c:pt idx="618">
                  <c:v>40962</c:v>
                </c:pt>
                <c:pt idx="619">
                  <c:v>40963</c:v>
                </c:pt>
                <c:pt idx="620">
                  <c:v>40966</c:v>
                </c:pt>
                <c:pt idx="621">
                  <c:v>40967</c:v>
                </c:pt>
                <c:pt idx="622">
                  <c:v>40968</c:v>
                </c:pt>
                <c:pt idx="623">
                  <c:v>40969</c:v>
                </c:pt>
                <c:pt idx="624">
                  <c:v>40970</c:v>
                </c:pt>
                <c:pt idx="625">
                  <c:v>40973</c:v>
                </c:pt>
                <c:pt idx="626">
                  <c:v>40974</c:v>
                </c:pt>
                <c:pt idx="627">
                  <c:v>40975</c:v>
                </c:pt>
                <c:pt idx="628">
                  <c:v>40976</c:v>
                </c:pt>
                <c:pt idx="629">
                  <c:v>40977</c:v>
                </c:pt>
                <c:pt idx="630">
                  <c:v>40980</c:v>
                </c:pt>
                <c:pt idx="631">
                  <c:v>40981</c:v>
                </c:pt>
                <c:pt idx="632">
                  <c:v>40982</c:v>
                </c:pt>
                <c:pt idx="633">
                  <c:v>40983</c:v>
                </c:pt>
                <c:pt idx="634">
                  <c:v>40984</c:v>
                </c:pt>
                <c:pt idx="635">
                  <c:v>40987</c:v>
                </c:pt>
                <c:pt idx="636">
                  <c:v>40988</c:v>
                </c:pt>
                <c:pt idx="637">
                  <c:v>40989</c:v>
                </c:pt>
                <c:pt idx="638">
                  <c:v>40990</c:v>
                </c:pt>
                <c:pt idx="639">
                  <c:v>40991</c:v>
                </c:pt>
                <c:pt idx="640">
                  <c:v>40994</c:v>
                </c:pt>
                <c:pt idx="641">
                  <c:v>40995</c:v>
                </c:pt>
                <c:pt idx="642">
                  <c:v>40996</c:v>
                </c:pt>
                <c:pt idx="643">
                  <c:v>40997</c:v>
                </c:pt>
                <c:pt idx="644">
                  <c:v>40998</c:v>
                </c:pt>
                <c:pt idx="645">
                  <c:v>41001</c:v>
                </c:pt>
                <c:pt idx="646">
                  <c:v>41002</c:v>
                </c:pt>
                <c:pt idx="647">
                  <c:v>41003</c:v>
                </c:pt>
                <c:pt idx="648">
                  <c:v>41004</c:v>
                </c:pt>
                <c:pt idx="649">
                  <c:v>41009</c:v>
                </c:pt>
                <c:pt idx="650">
                  <c:v>41010</c:v>
                </c:pt>
                <c:pt idx="651">
                  <c:v>41011</c:v>
                </c:pt>
                <c:pt idx="652">
                  <c:v>41012</c:v>
                </c:pt>
                <c:pt idx="653">
                  <c:v>41015</c:v>
                </c:pt>
                <c:pt idx="654">
                  <c:v>41016</c:v>
                </c:pt>
                <c:pt idx="655">
                  <c:v>41017</c:v>
                </c:pt>
                <c:pt idx="656">
                  <c:v>41018</c:v>
                </c:pt>
                <c:pt idx="657">
                  <c:v>41019</c:v>
                </c:pt>
                <c:pt idx="658">
                  <c:v>41022</c:v>
                </c:pt>
                <c:pt idx="659">
                  <c:v>41023</c:v>
                </c:pt>
                <c:pt idx="660">
                  <c:v>41024</c:v>
                </c:pt>
                <c:pt idx="661">
                  <c:v>41025</c:v>
                </c:pt>
                <c:pt idx="662">
                  <c:v>41026</c:v>
                </c:pt>
                <c:pt idx="663">
                  <c:v>41029</c:v>
                </c:pt>
                <c:pt idx="664">
                  <c:v>41030</c:v>
                </c:pt>
                <c:pt idx="665">
                  <c:v>41031</c:v>
                </c:pt>
                <c:pt idx="666">
                  <c:v>41032</c:v>
                </c:pt>
                <c:pt idx="667">
                  <c:v>41033</c:v>
                </c:pt>
                <c:pt idx="668">
                  <c:v>41036</c:v>
                </c:pt>
                <c:pt idx="669">
                  <c:v>41037</c:v>
                </c:pt>
                <c:pt idx="670">
                  <c:v>41038</c:v>
                </c:pt>
                <c:pt idx="671">
                  <c:v>41039</c:v>
                </c:pt>
                <c:pt idx="672">
                  <c:v>41040</c:v>
                </c:pt>
                <c:pt idx="673">
                  <c:v>41043</c:v>
                </c:pt>
                <c:pt idx="674">
                  <c:v>41044</c:v>
                </c:pt>
                <c:pt idx="675">
                  <c:v>41045</c:v>
                </c:pt>
                <c:pt idx="676">
                  <c:v>41046</c:v>
                </c:pt>
                <c:pt idx="677">
                  <c:v>41047</c:v>
                </c:pt>
                <c:pt idx="678">
                  <c:v>41050</c:v>
                </c:pt>
                <c:pt idx="679">
                  <c:v>41051</c:v>
                </c:pt>
                <c:pt idx="680">
                  <c:v>41052</c:v>
                </c:pt>
                <c:pt idx="681">
                  <c:v>41053</c:v>
                </c:pt>
                <c:pt idx="682">
                  <c:v>41054</c:v>
                </c:pt>
                <c:pt idx="683">
                  <c:v>41057</c:v>
                </c:pt>
                <c:pt idx="684">
                  <c:v>41058</c:v>
                </c:pt>
                <c:pt idx="685">
                  <c:v>41059</c:v>
                </c:pt>
                <c:pt idx="686">
                  <c:v>41060</c:v>
                </c:pt>
                <c:pt idx="687">
                  <c:v>41061</c:v>
                </c:pt>
                <c:pt idx="688">
                  <c:v>41064</c:v>
                </c:pt>
                <c:pt idx="689">
                  <c:v>41065</c:v>
                </c:pt>
                <c:pt idx="690">
                  <c:v>41066</c:v>
                </c:pt>
                <c:pt idx="691">
                  <c:v>41067</c:v>
                </c:pt>
                <c:pt idx="692">
                  <c:v>41068</c:v>
                </c:pt>
                <c:pt idx="693">
                  <c:v>41071</c:v>
                </c:pt>
                <c:pt idx="694">
                  <c:v>41072</c:v>
                </c:pt>
                <c:pt idx="695">
                  <c:v>41073</c:v>
                </c:pt>
                <c:pt idx="696">
                  <c:v>41074</c:v>
                </c:pt>
                <c:pt idx="697">
                  <c:v>41075</c:v>
                </c:pt>
                <c:pt idx="698">
                  <c:v>41078</c:v>
                </c:pt>
                <c:pt idx="699">
                  <c:v>41079</c:v>
                </c:pt>
                <c:pt idx="700">
                  <c:v>41080</c:v>
                </c:pt>
                <c:pt idx="701">
                  <c:v>41081</c:v>
                </c:pt>
                <c:pt idx="702">
                  <c:v>41082</c:v>
                </c:pt>
                <c:pt idx="703">
                  <c:v>41085</c:v>
                </c:pt>
                <c:pt idx="704">
                  <c:v>41086</c:v>
                </c:pt>
                <c:pt idx="705">
                  <c:v>41087</c:v>
                </c:pt>
                <c:pt idx="706">
                  <c:v>41088</c:v>
                </c:pt>
                <c:pt idx="707">
                  <c:v>41089</c:v>
                </c:pt>
                <c:pt idx="708">
                  <c:v>41092</c:v>
                </c:pt>
                <c:pt idx="709">
                  <c:v>41093</c:v>
                </c:pt>
                <c:pt idx="710">
                  <c:v>41094</c:v>
                </c:pt>
                <c:pt idx="711">
                  <c:v>41095</c:v>
                </c:pt>
                <c:pt idx="712">
                  <c:v>41096</c:v>
                </c:pt>
                <c:pt idx="713">
                  <c:v>41099</c:v>
                </c:pt>
                <c:pt idx="714">
                  <c:v>41100</c:v>
                </c:pt>
                <c:pt idx="715">
                  <c:v>41101</c:v>
                </c:pt>
                <c:pt idx="716">
                  <c:v>41102</c:v>
                </c:pt>
                <c:pt idx="717">
                  <c:v>41103</c:v>
                </c:pt>
                <c:pt idx="718">
                  <c:v>41106</c:v>
                </c:pt>
                <c:pt idx="719">
                  <c:v>41107</c:v>
                </c:pt>
                <c:pt idx="720">
                  <c:v>41108</c:v>
                </c:pt>
                <c:pt idx="721">
                  <c:v>41109</c:v>
                </c:pt>
                <c:pt idx="722">
                  <c:v>41110</c:v>
                </c:pt>
                <c:pt idx="723">
                  <c:v>41113</c:v>
                </c:pt>
                <c:pt idx="724">
                  <c:v>41114</c:v>
                </c:pt>
                <c:pt idx="725">
                  <c:v>41115</c:v>
                </c:pt>
                <c:pt idx="726">
                  <c:v>41116</c:v>
                </c:pt>
                <c:pt idx="727">
                  <c:v>41117</c:v>
                </c:pt>
                <c:pt idx="728">
                  <c:v>41120</c:v>
                </c:pt>
                <c:pt idx="729">
                  <c:v>41121</c:v>
                </c:pt>
                <c:pt idx="730">
                  <c:v>41122</c:v>
                </c:pt>
                <c:pt idx="731">
                  <c:v>41123</c:v>
                </c:pt>
                <c:pt idx="732">
                  <c:v>41124</c:v>
                </c:pt>
                <c:pt idx="733">
                  <c:v>41127</c:v>
                </c:pt>
                <c:pt idx="734">
                  <c:v>41128</c:v>
                </c:pt>
                <c:pt idx="735">
                  <c:v>41129</c:v>
                </c:pt>
                <c:pt idx="736">
                  <c:v>41130</c:v>
                </c:pt>
                <c:pt idx="737">
                  <c:v>41131</c:v>
                </c:pt>
                <c:pt idx="738">
                  <c:v>41134</c:v>
                </c:pt>
                <c:pt idx="739">
                  <c:v>41135</c:v>
                </c:pt>
                <c:pt idx="740">
                  <c:v>41136</c:v>
                </c:pt>
                <c:pt idx="741">
                  <c:v>41137</c:v>
                </c:pt>
                <c:pt idx="742">
                  <c:v>41138</c:v>
                </c:pt>
                <c:pt idx="743">
                  <c:v>41141</c:v>
                </c:pt>
                <c:pt idx="744">
                  <c:v>41142</c:v>
                </c:pt>
                <c:pt idx="745">
                  <c:v>41143</c:v>
                </c:pt>
                <c:pt idx="746">
                  <c:v>41144</c:v>
                </c:pt>
                <c:pt idx="747">
                  <c:v>41145</c:v>
                </c:pt>
                <c:pt idx="748">
                  <c:v>41148</c:v>
                </c:pt>
                <c:pt idx="749">
                  <c:v>41149</c:v>
                </c:pt>
                <c:pt idx="750">
                  <c:v>41150</c:v>
                </c:pt>
                <c:pt idx="751">
                  <c:v>41151</c:v>
                </c:pt>
                <c:pt idx="752">
                  <c:v>41152</c:v>
                </c:pt>
                <c:pt idx="753">
                  <c:v>41155</c:v>
                </c:pt>
                <c:pt idx="754">
                  <c:v>41156</c:v>
                </c:pt>
                <c:pt idx="755">
                  <c:v>41157</c:v>
                </c:pt>
                <c:pt idx="756">
                  <c:v>41158</c:v>
                </c:pt>
                <c:pt idx="757">
                  <c:v>41159</c:v>
                </c:pt>
                <c:pt idx="758">
                  <c:v>41162</c:v>
                </c:pt>
                <c:pt idx="759">
                  <c:v>41163</c:v>
                </c:pt>
                <c:pt idx="760">
                  <c:v>41164</c:v>
                </c:pt>
                <c:pt idx="761">
                  <c:v>41165</c:v>
                </c:pt>
                <c:pt idx="762">
                  <c:v>41166</c:v>
                </c:pt>
                <c:pt idx="763">
                  <c:v>41169</c:v>
                </c:pt>
                <c:pt idx="764">
                  <c:v>41170</c:v>
                </c:pt>
                <c:pt idx="765">
                  <c:v>41171</c:v>
                </c:pt>
                <c:pt idx="766">
                  <c:v>41172</c:v>
                </c:pt>
                <c:pt idx="767">
                  <c:v>41173</c:v>
                </c:pt>
                <c:pt idx="768">
                  <c:v>41176</c:v>
                </c:pt>
                <c:pt idx="769">
                  <c:v>41177</c:v>
                </c:pt>
                <c:pt idx="770">
                  <c:v>41178</c:v>
                </c:pt>
                <c:pt idx="771">
                  <c:v>41179</c:v>
                </c:pt>
                <c:pt idx="772">
                  <c:v>41180</c:v>
                </c:pt>
                <c:pt idx="773">
                  <c:v>41183</c:v>
                </c:pt>
                <c:pt idx="774">
                  <c:v>41184</c:v>
                </c:pt>
                <c:pt idx="775">
                  <c:v>41185</c:v>
                </c:pt>
                <c:pt idx="776">
                  <c:v>41186</c:v>
                </c:pt>
                <c:pt idx="777">
                  <c:v>41187</c:v>
                </c:pt>
                <c:pt idx="778">
                  <c:v>41190</c:v>
                </c:pt>
                <c:pt idx="779">
                  <c:v>41191</c:v>
                </c:pt>
                <c:pt idx="780">
                  <c:v>41192</c:v>
                </c:pt>
                <c:pt idx="781">
                  <c:v>41193</c:v>
                </c:pt>
                <c:pt idx="782">
                  <c:v>41194</c:v>
                </c:pt>
                <c:pt idx="783">
                  <c:v>41197</c:v>
                </c:pt>
                <c:pt idx="784">
                  <c:v>41198</c:v>
                </c:pt>
                <c:pt idx="785">
                  <c:v>41199</c:v>
                </c:pt>
                <c:pt idx="786">
                  <c:v>41200</c:v>
                </c:pt>
                <c:pt idx="787">
                  <c:v>41201</c:v>
                </c:pt>
                <c:pt idx="788">
                  <c:v>41204</c:v>
                </c:pt>
                <c:pt idx="789">
                  <c:v>41205</c:v>
                </c:pt>
                <c:pt idx="790">
                  <c:v>41206</c:v>
                </c:pt>
                <c:pt idx="791">
                  <c:v>41207</c:v>
                </c:pt>
                <c:pt idx="792">
                  <c:v>41208</c:v>
                </c:pt>
                <c:pt idx="793">
                  <c:v>41211</c:v>
                </c:pt>
                <c:pt idx="794">
                  <c:v>41212</c:v>
                </c:pt>
                <c:pt idx="795">
                  <c:v>41213</c:v>
                </c:pt>
                <c:pt idx="796">
                  <c:v>41214</c:v>
                </c:pt>
                <c:pt idx="797">
                  <c:v>41215</c:v>
                </c:pt>
                <c:pt idx="798">
                  <c:v>41218</c:v>
                </c:pt>
                <c:pt idx="799">
                  <c:v>41219</c:v>
                </c:pt>
                <c:pt idx="800">
                  <c:v>41220</c:v>
                </c:pt>
                <c:pt idx="801">
                  <c:v>41221</c:v>
                </c:pt>
                <c:pt idx="802">
                  <c:v>41222</c:v>
                </c:pt>
                <c:pt idx="803">
                  <c:v>41225</c:v>
                </c:pt>
                <c:pt idx="804">
                  <c:v>41226</c:v>
                </c:pt>
                <c:pt idx="805">
                  <c:v>41227</c:v>
                </c:pt>
                <c:pt idx="806">
                  <c:v>41228</c:v>
                </c:pt>
                <c:pt idx="807">
                  <c:v>41229</c:v>
                </c:pt>
                <c:pt idx="808">
                  <c:v>41232</c:v>
                </c:pt>
                <c:pt idx="809">
                  <c:v>41233</c:v>
                </c:pt>
                <c:pt idx="810">
                  <c:v>41234</c:v>
                </c:pt>
                <c:pt idx="811">
                  <c:v>41235</c:v>
                </c:pt>
                <c:pt idx="812">
                  <c:v>41236</c:v>
                </c:pt>
                <c:pt idx="813">
                  <c:v>41239</c:v>
                </c:pt>
                <c:pt idx="814">
                  <c:v>41240</c:v>
                </c:pt>
                <c:pt idx="815">
                  <c:v>41241</c:v>
                </c:pt>
                <c:pt idx="816">
                  <c:v>41242</c:v>
                </c:pt>
                <c:pt idx="817">
                  <c:v>41243</c:v>
                </c:pt>
                <c:pt idx="818">
                  <c:v>41246</c:v>
                </c:pt>
                <c:pt idx="819">
                  <c:v>41247</c:v>
                </c:pt>
                <c:pt idx="820">
                  <c:v>41248</c:v>
                </c:pt>
                <c:pt idx="821">
                  <c:v>41249</c:v>
                </c:pt>
                <c:pt idx="822">
                  <c:v>41250</c:v>
                </c:pt>
                <c:pt idx="823">
                  <c:v>41253</c:v>
                </c:pt>
                <c:pt idx="824">
                  <c:v>41254</c:v>
                </c:pt>
                <c:pt idx="825">
                  <c:v>41255</c:v>
                </c:pt>
                <c:pt idx="826">
                  <c:v>41256</c:v>
                </c:pt>
                <c:pt idx="827">
                  <c:v>41257</c:v>
                </c:pt>
                <c:pt idx="828">
                  <c:v>41260</c:v>
                </c:pt>
                <c:pt idx="829">
                  <c:v>41261</c:v>
                </c:pt>
                <c:pt idx="830">
                  <c:v>41262</c:v>
                </c:pt>
                <c:pt idx="831">
                  <c:v>41263</c:v>
                </c:pt>
                <c:pt idx="832">
                  <c:v>41264</c:v>
                </c:pt>
                <c:pt idx="833">
                  <c:v>41267</c:v>
                </c:pt>
                <c:pt idx="834">
                  <c:v>41270</c:v>
                </c:pt>
                <c:pt idx="835">
                  <c:v>41271</c:v>
                </c:pt>
                <c:pt idx="836">
                  <c:v>41274</c:v>
                </c:pt>
                <c:pt idx="837">
                  <c:v>41276</c:v>
                </c:pt>
                <c:pt idx="838">
                  <c:v>41277</c:v>
                </c:pt>
                <c:pt idx="839">
                  <c:v>41278</c:v>
                </c:pt>
                <c:pt idx="840">
                  <c:v>41281</c:v>
                </c:pt>
                <c:pt idx="841">
                  <c:v>41282</c:v>
                </c:pt>
                <c:pt idx="842">
                  <c:v>41283</c:v>
                </c:pt>
                <c:pt idx="843">
                  <c:v>41284</c:v>
                </c:pt>
                <c:pt idx="844">
                  <c:v>41285</c:v>
                </c:pt>
                <c:pt idx="845">
                  <c:v>41288</c:v>
                </c:pt>
                <c:pt idx="846">
                  <c:v>41289</c:v>
                </c:pt>
                <c:pt idx="847">
                  <c:v>41290</c:v>
                </c:pt>
                <c:pt idx="848">
                  <c:v>41291</c:v>
                </c:pt>
                <c:pt idx="849">
                  <c:v>41292</c:v>
                </c:pt>
                <c:pt idx="850">
                  <c:v>41295</c:v>
                </c:pt>
                <c:pt idx="851">
                  <c:v>41296</c:v>
                </c:pt>
                <c:pt idx="852">
                  <c:v>41297</c:v>
                </c:pt>
                <c:pt idx="853">
                  <c:v>41298</c:v>
                </c:pt>
                <c:pt idx="854">
                  <c:v>41299</c:v>
                </c:pt>
                <c:pt idx="855">
                  <c:v>41302</c:v>
                </c:pt>
                <c:pt idx="856">
                  <c:v>41303</c:v>
                </c:pt>
                <c:pt idx="857">
                  <c:v>41304</c:v>
                </c:pt>
                <c:pt idx="858">
                  <c:v>41305</c:v>
                </c:pt>
                <c:pt idx="859">
                  <c:v>41306</c:v>
                </c:pt>
                <c:pt idx="860">
                  <c:v>41309</c:v>
                </c:pt>
                <c:pt idx="861">
                  <c:v>41310</c:v>
                </c:pt>
                <c:pt idx="862">
                  <c:v>41311</c:v>
                </c:pt>
                <c:pt idx="863">
                  <c:v>41312</c:v>
                </c:pt>
                <c:pt idx="864">
                  <c:v>41313</c:v>
                </c:pt>
                <c:pt idx="865">
                  <c:v>41316</c:v>
                </c:pt>
                <c:pt idx="866">
                  <c:v>41317</c:v>
                </c:pt>
                <c:pt idx="867">
                  <c:v>41318</c:v>
                </c:pt>
                <c:pt idx="868">
                  <c:v>41319</c:v>
                </c:pt>
                <c:pt idx="869">
                  <c:v>41320</c:v>
                </c:pt>
                <c:pt idx="870">
                  <c:v>41323</c:v>
                </c:pt>
                <c:pt idx="871">
                  <c:v>41324</c:v>
                </c:pt>
                <c:pt idx="872">
                  <c:v>41325</c:v>
                </c:pt>
                <c:pt idx="873">
                  <c:v>41326</c:v>
                </c:pt>
                <c:pt idx="874">
                  <c:v>41327</c:v>
                </c:pt>
                <c:pt idx="875">
                  <c:v>41330</c:v>
                </c:pt>
                <c:pt idx="876">
                  <c:v>41331</c:v>
                </c:pt>
                <c:pt idx="877">
                  <c:v>41332</c:v>
                </c:pt>
                <c:pt idx="878">
                  <c:v>41333</c:v>
                </c:pt>
                <c:pt idx="879">
                  <c:v>41334</c:v>
                </c:pt>
                <c:pt idx="880">
                  <c:v>41337</c:v>
                </c:pt>
                <c:pt idx="881">
                  <c:v>41338</c:v>
                </c:pt>
                <c:pt idx="882">
                  <c:v>41339</c:v>
                </c:pt>
                <c:pt idx="883">
                  <c:v>41340</c:v>
                </c:pt>
                <c:pt idx="884">
                  <c:v>41341</c:v>
                </c:pt>
                <c:pt idx="885">
                  <c:v>41344</c:v>
                </c:pt>
                <c:pt idx="886">
                  <c:v>41345</c:v>
                </c:pt>
                <c:pt idx="887">
                  <c:v>41346</c:v>
                </c:pt>
                <c:pt idx="888">
                  <c:v>41347</c:v>
                </c:pt>
                <c:pt idx="889">
                  <c:v>41348</c:v>
                </c:pt>
                <c:pt idx="890">
                  <c:v>41351</c:v>
                </c:pt>
                <c:pt idx="891">
                  <c:v>41352</c:v>
                </c:pt>
                <c:pt idx="892">
                  <c:v>41353</c:v>
                </c:pt>
                <c:pt idx="893">
                  <c:v>41354</c:v>
                </c:pt>
                <c:pt idx="894">
                  <c:v>41355</c:v>
                </c:pt>
                <c:pt idx="895">
                  <c:v>41358</c:v>
                </c:pt>
                <c:pt idx="896">
                  <c:v>41359</c:v>
                </c:pt>
                <c:pt idx="897">
                  <c:v>41360</c:v>
                </c:pt>
                <c:pt idx="898">
                  <c:v>41361</c:v>
                </c:pt>
                <c:pt idx="899">
                  <c:v>41366</c:v>
                </c:pt>
                <c:pt idx="900">
                  <c:v>41367</c:v>
                </c:pt>
                <c:pt idx="901">
                  <c:v>41368</c:v>
                </c:pt>
                <c:pt idx="902">
                  <c:v>41369</c:v>
                </c:pt>
                <c:pt idx="903">
                  <c:v>41372</c:v>
                </c:pt>
                <c:pt idx="904">
                  <c:v>41373</c:v>
                </c:pt>
                <c:pt idx="905">
                  <c:v>41374</c:v>
                </c:pt>
                <c:pt idx="906">
                  <c:v>41375</c:v>
                </c:pt>
                <c:pt idx="907">
                  <c:v>41376</c:v>
                </c:pt>
                <c:pt idx="908">
                  <c:v>41379</c:v>
                </c:pt>
                <c:pt idx="909">
                  <c:v>41380</c:v>
                </c:pt>
                <c:pt idx="910">
                  <c:v>41381</c:v>
                </c:pt>
                <c:pt idx="911">
                  <c:v>41382</c:v>
                </c:pt>
                <c:pt idx="912">
                  <c:v>41383</c:v>
                </c:pt>
                <c:pt idx="913">
                  <c:v>41386</c:v>
                </c:pt>
                <c:pt idx="914">
                  <c:v>41387</c:v>
                </c:pt>
                <c:pt idx="915">
                  <c:v>41388</c:v>
                </c:pt>
                <c:pt idx="916">
                  <c:v>41389</c:v>
                </c:pt>
                <c:pt idx="917">
                  <c:v>41390</c:v>
                </c:pt>
                <c:pt idx="918">
                  <c:v>41393</c:v>
                </c:pt>
                <c:pt idx="919">
                  <c:v>41394</c:v>
                </c:pt>
                <c:pt idx="920">
                  <c:v>41395</c:v>
                </c:pt>
                <c:pt idx="921">
                  <c:v>41396</c:v>
                </c:pt>
                <c:pt idx="922">
                  <c:v>41397</c:v>
                </c:pt>
                <c:pt idx="923">
                  <c:v>41400</c:v>
                </c:pt>
                <c:pt idx="924">
                  <c:v>41401</c:v>
                </c:pt>
                <c:pt idx="925">
                  <c:v>41402</c:v>
                </c:pt>
                <c:pt idx="926">
                  <c:v>41403</c:v>
                </c:pt>
                <c:pt idx="927">
                  <c:v>41404</c:v>
                </c:pt>
                <c:pt idx="928">
                  <c:v>41407</c:v>
                </c:pt>
                <c:pt idx="929">
                  <c:v>41408</c:v>
                </c:pt>
                <c:pt idx="930">
                  <c:v>41409</c:v>
                </c:pt>
                <c:pt idx="931">
                  <c:v>41410</c:v>
                </c:pt>
                <c:pt idx="932">
                  <c:v>41411</c:v>
                </c:pt>
                <c:pt idx="933">
                  <c:v>41414</c:v>
                </c:pt>
                <c:pt idx="934">
                  <c:v>41415</c:v>
                </c:pt>
                <c:pt idx="935">
                  <c:v>41416</c:v>
                </c:pt>
                <c:pt idx="936">
                  <c:v>41417</c:v>
                </c:pt>
                <c:pt idx="937">
                  <c:v>41418</c:v>
                </c:pt>
                <c:pt idx="938">
                  <c:v>41421</c:v>
                </c:pt>
                <c:pt idx="939">
                  <c:v>41422</c:v>
                </c:pt>
                <c:pt idx="940">
                  <c:v>41423</c:v>
                </c:pt>
                <c:pt idx="941">
                  <c:v>41424</c:v>
                </c:pt>
                <c:pt idx="942">
                  <c:v>41425</c:v>
                </c:pt>
                <c:pt idx="943">
                  <c:v>41428</c:v>
                </c:pt>
                <c:pt idx="944">
                  <c:v>41429</c:v>
                </c:pt>
                <c:pt idx="945">
                  <c:v>41430</c:v>
                </c:pt>
                <c:pt idx="946">
                  <c:v>41431</c:v>
                </c:pt>
                <c:pt idx="947">
                  <c:v>41432</c:v>
                </c:pt>
                <c:pt idx="948">
                  <c:v>41435</c:v>
                </c:pt>
                <c:pt idx="949">
                  <c:v>41436</c:v>
                </c:pt>
                <c:pt idx="950">
                  <c:v>41437</c:v>
                </c:pt>
                <c:pt idx="951">
                  <c:v>41438</c:v>
                </c:pt>
                <c:pt idx="952">
                  <c:v>41439</c:v>
                </c:pt>
                <c:pt idx="953">
                  <c:v>41442</c:v>
                </c:pt>
                <c:pt idx="954">
                  <c:v>41443</c:v>
                </c:pt>
                <c:pt idx="955">
                  <c:v>41444</c:v>
                </c:pt>
                <c:pt idx="956">
                  <c:v>41445</c:v>
                </c:pt>
                <c:pt idx="957">
                  <c:v>41446</c:v>
                </c:pt>
                <c:pt idx="958">
                  <c:v>41449</c:v>
                </c:pt>
                <c:pt idx="959">
                  <c:v>41450</c:v>
                </c:pt>
                <c:pt idx="960">
                  <c:v>41451</c:v>
                </c:pt>
                <c:pt idx="961">
                  <c:v>41452</c:v>
                </c:pt>
                <c:pt idx="962">
                  <c:v>41453</c:v>
                </c:pt>
                <c:pt idx="963">
                  <c:v>41456</c:v>
                </c:pt>
                <c:pt idx="964">
                  <c:v>41457</c:v>
                </c:pt>
                <c:pt idx="965">
                  <c:v>41458</c:v>
                </c:pt>
                <c:pt idx="966">
                  <c:v>41459</c:v>
                </c:pt>
                <c:pt idx="967">
                  <c:v>41460</c:v>
                </c:pt>
                <c:pt idx="968">
                  <c:v>41463</c:v>
                </c:pt>
                <c:pt idx="969">
                  <c:v>41464</c:v>
                </c:pt>
                <c:pt idx="970">
                  <c:v>41465</c:v>
                </c:pt>
                <c:pt idx="971">
                  <c:v>41466</c:v>
                </c:pt>
                <c:pt idx="972">
                  <c:v>41467</c:v>
                </c:pt>
                <c:pt idx="973">
                  <c:v>41470</c:v>
                </c:pt>
                <c:pt idx="974">
                  <c:v>41471</c:v>
                </c:pt>
                <c:pt idx="975">
                  <c:v>41472</c:v>
                </c:pt>
                <c:pt idx="976">
                  <c:v>41473</c:v>
                </c:pt>
                <c:pt idx="977">
                  <c:v>41474</c:v>
                </c:pt>
                <c:pt idx="978">
                  <c:v>41477</c:v>
                </c:pt>
                <c:pt idx="979">
                  <c:v>41478</c:v>
                </c:pt>
                <c:pt idx="980">
                  <c:v>41479</c:v>
                </c:pt>
                <c:pt idx="981">
                  <c:v>41480</c:v>
                </c:pt>
                <c:pt idx="982">
                  <c:v>41481</c:v>
                </c:pt>
                <c:pt idx="983">
                  <c:v>41484</c:v>
                </c:pt>
                <c:pt idx="984">
                  <c:v>41485</c:v>
                </c:pt>
                <c:pt idx="985">
                  <c:v>41486</c:v>
                </c:pt>
                <c:pt idx="986">
                  <c:v>41487</c:v>
                </c:pt>
                <c:pt idx="987">
                  <c:v>41488</c:v>
                </c:pt>
                <c:pt idx="988">
                  <c:v>41491</c:v>
                </c:pt>
                <c:pt idx="989">
                  <c:v>41492</c:v>
                </c:pt>
                <c:pt idx="990">
                  <c:v>41493</c:v>
                </c:pt>
                <c:pt idx="991">
                  <c:v>41494</c:v>
                </c:pt>
                <c:pt idx="992">
                  <c:v>41495</c:v>
                </c:pt>
                <c:pt idx="993">
                  <c:v>41498</c:v>
                </c:pt>
                <c:pt idx="994">
                  <c:v>41499</c:v>
                </c:pt>
                <c:pt idx="995">
                  <c:v>41500</c:v>
                </c:pt>
                <c:pt idx="996">
                  <c:v>41501</c:v>
                </c:pt>
                <c:pt idx="997">
                  <c:v>41502</c:v>
                </c:pt>
                <c:pt idx="998">
                  <c:v>41505</c:v>
                </c:pt>
                <c:pt idx="999">
                  <c:v>41506</c:v>
                </c:pt>
                <c:pt idx="1000">
                  <c:v>41507</c:v>
                </c:pt>
                <c:pt idx="1001">
                  <c:v>41508</c:v>
                </c:pt>
                <c:pt idx="1002">
                  <c:v>41509</c:v>
                </c:pt>
                <c:pt idx="1003">
                  <c:v>41512</c:v>
                </c:pt>
                <c:pt idx="1004">
                  <c:v>41513</c:v>
                </c:pt>
                <c:pt idx="1005">
                  <c:v>41514</c:v>
                </c:pt>
                <c:pt idx="1006">
                  <c:v>41515</c:v>
                </c:pt>
                <c:pt idx="1007">
                  <c:v>41516</c:v>
                </c:pt>
                <c:pt idx="1008">
                  <c:v>41519</c:v>
                </c:pt>
                <c:pt idx="1009">
                  <c:v>41520</c:v>
                </c:pt>
                <c:pt idx="1010">
                  <c:v>41521</c:v>
                </c:pt>
                <c:pt idx="1011">
                  <c:v>41522</c:v>
                </c:pt>
                <c:pt idx="1012">
                  <c:v>41523</c:v>
                </c:pt>
                <c:pt idx="1013">
                  <c:v>41526</c:v>
                </c:pt>
                <c:pt idx="1014">
                  <c:v>41527</c:v>
                </c:pt>
                <c:pt idx="1015">
                  <c:v>41528</c:v>
                </c:pt>
                <c:pt idx="1016">
                  <c:v>41529</c:v>
                </c:pt>
                <c:pt idx="1017">
                  <c:v>41530</c:v>
                </c:pt>
                <c:pt idx="1018">
                  <c:v>41533</c:v>
                </c:pt>
                <c:pt idx="1019">
                  <c:v>41534</c:v>
                </c:pt>
                <c:pt idx="1020">
                  <c:v>41535</c:v>
                </c:pt>
                <c:pt idx="1021">
                  <c:v>41536</c:v>
                </c:pt>
                <c:pt idx="1022">
                  <c:v>41537</c:v>
                </c:pt>
                <c:pt idx="1023">
                  <c:v>41540</c:v>
                </c:pt>
                <c:pt idx="1024">
                  <c:v>41541</c:v>
                </c:pt>
                <c:pt idx="1025">
                  <c:v>41542</c:v>
                </c:pt>
                <c:pt idx="1026">
                  <c:v>41543</c:v>
                </c:pt>
                <c:pt idx="1027">
                  <c:v>41544</c:v>
                </c:pt>
                <c:pt idx="1028">
                  <c:v>41547</c:v>
                </c:pt>
                <c:pt idx="1029">
                  <c:v>41548</c:v>
                </c:pt>
                <c:pt idx="1030">
                  <c:v>41549</c:v>
                </c:pt>
                <c:pt idx="1031">
                  <c:v>41550</c:v>
                </c:pt>
                <c:pt idx="1032">
                  <c:v>41551</c:v>
                </c:pt>
                <c:pt idx="1033">
                  <c:v>41554</c:v>
                </c:pt>
                <c:pt idx="1034">
                  <c:v>41555</c:v>
                </c:pt>
                <c:pt idx="1035">
                  <c:v>41556</c:v>
                </c:pt>
                <c:pt idx="1036">
                  <c:v>41557</c:v>
                </c:pt>
                <c:pt idx="1037">
                  <c:v>41558</c:v>
                </c:pt>
                <c:pt idx="1038">
                  <c:v>41561</c:v>
                </c:pt>
                <c:pt idx="1039">
                  <c:v>41562</c:v>
                </c:pt>
                <c:pt idx="1040">
                  <c:v>41563</c:v>
                </c:pt>
                <c:pt idx="1041">
                  <c:v>41564</c:v>
                </c:pt>
                <c:pt idx="1042">
                  <c:v>41565</c:v>
                </c:pt>
                <c:pt idx="1043">
                  <c:v>41568</c:v>
                </c:pt>
                <c:pt idx="1044">
                  <c:v>41569</c:v>
                </c:pt>
                <c:pt idx="1045">
                  <c:v>41570</c:v>
                </c:pt>
                <c:pt idx="1046">
                  <c:v>41571</c:v>
                </c:pt>
                <c:pt idx="1047">
                  <c:v>41572</c:v>
                </c:pt>
                <c:pt idx="1048">
                  <c:v>41575</c:v>
                </c:pt>
                <c:pt idx="1049">
                  <c:v>41576</c:v>
                </c:pt>
                <c:pt idx="1050">
                  <c:v>41577</c:v>
                </c:pt>
                <c:pt idx="1051">
                  <c:v>41578</c:v>
                </c:pt>
                <c:pt idx="1052">
                  <c:v>41579</c:v>
                </c:pt>
                <c:pt idx="1053">
                  <c:v>41582</c:v>
                </c:pt>
                <c:pt idx="1054">
                  <c:v>41583</c:v>
                </c:pt>
                <c:pt idx="1055">
                  <c:v>41584</c:v>
                </c:pt>
                <c:pt idx="1056">
                  <c:v>41585</c:v>
                </c:pt>
                <c:pt idx="1057">
                  <c:v>41586</c:v>
                </c:pt>
                <c:pt idx="1058">
                  <c:v>41589</c:v>
                </c:pt>
                <c:pt idx="1059">
                  <c:v>41590</c:v>
                </c:pt>
                <c:pt idx="1060">
                  <c:v>41591</c:v>
                </c:pt>
                <c:pt idx="1061">
                  <c:v>41592</c:v>
                </c:pt>
                <c:pt idx="1062">
                  <c:v>41593</c:v>
                </c:pt>
                <c:pt idx="1063">
                  <c:v>41596</c:v>
                </c:pt>
                <c:pt idx="1064">
                  <c:v>41597</c:v>
                </c:pt>
                <c:pt idx="1065">
                  <c:v>41598</c:v>
                </c:pt>
                <c:pt idx="1066">
                  <c:v>41599</c:v>
                </c:pt>
                <c:pt idx="1067">
                  <c:v>41600</c:v>
                </c:pt>
                <c:pt idx="1068">
                  <c:v>41603</c:v>
                </c:pt>
                <c:pt idx="1069">
                  <c:v>41604</c:v>
                </c:pt>
                <c:pt idx="1070">
                  <c:v>41605</c:v>
                </c:pt>
                <c:pt idx="1071">
                  <c:v>41606</c:v>
                </c:pt>
                <c:pt idx="1072">
                  <c:v>41607</c:v>
                </c:pt>
                <c:pt idx="1073">
                  <c:v>41610</c:v>
                </c:pt>
                <c:pt idx="1074">
                  <c:v>41611</c:v>
                </c:pt>
                <c:pt idx="1075">
                  <c:v>41612</c:v>
                </c:pt>
                <c:pt idx="1076">
                  <c:v>41613</c:v>
                </c:pt>
                <c:pt idx="1077">
                  <c:v>41614</c:v>
                </c:pt>
                <c:pt idx="1078">
                  <c:v>41617</c:v>
                </c:pt>
                <c:pt idx="1079">
                  <c:v>41618</c:v>
                </c:pt>
                <c:pt idx="1080">
                  <c:v>41619</c:v>
                </c:pt>
                <c:pt idx="1081">
                  <c:v>41620</c:v>
                </c:pt>
                <c:pt idx="1082">
                  <c:v>41621</c:v>
                </c:pt>
                <c:pt idx="1083">
                  <c:v>41624</c:v>
                </c:pt>
                <c:pt idx="1084">
                  <c:v>41625</c:v>
                </c:pt>
                <c:pt idx="1085">
                  <c:v>41626</c:v>
                </c:pt>
                <c:pt idx="1086">
                  <c:v>41627</c:v>
                </c:pt>
                <c:pt idx="1087">
                  <c:v>41628</c:v>
                </c:pt>
                <c:pt idx="1088">
                  <c:v>41631</c:v>
                </c:pt>
                <c:pt idx="1089">
                  <c:v>41632</c:v>
                </c:pt>
                <c:pt idx="1090">
                  <c:v>41635</c:v>
                </c:pt>
                <c:pt idx="1091">
                  <c:v>41638</c:v>
                </c:pt>
                <c:pt idx="1092">
                  <c:v>41639</c:v>
                </c:pt>
                <c:pt idx="1093">
                  <c:v>41641</c:v>
                </c:pt>
                <c:pt idx="1094">
                  <c:v>41642</c:v>
                </c:pt>
                <c:pt idx="1095">
                  <c:v>41645</c:v>
                </c:pt>
                <c:pt idx="1096">
                  <c:v>41646</c:v>
                </c:pt>
                <c:pt idx="1097">
                  <c:v>41647</c:v>
                </c:pt>
                <c:pt idx="1098">
                  <c:v>41648</c:v>
                </c:pt>
                <c:pt idx="1099">
                  <c:v>41649</c:v>
                </c:pt>
                <c:pt idx="1100">
                  <c:v>41652</c:v>
                </c:pt>
                <c:pt idx="1101">
                  <c:v>41653</c:v>
                </c:pt>
                <c:pt idx="1102">
                  <c:v>41654</c:v>
                </c:pt>
                <c:pt idx="1103">
                  <c:v>41655</c:v>
                </c:pt>
                <c:pt idx="1104">
                  <c:v>41656</c:v>
                </c:pt>
                <c:pt idx="1105">
                  <c:v>41659</c:v>
                </c:pt>
                <c:pt idx="1106">
                  <c:v>41660</c:v>
                </c:pt>
                <c:pt idx="1107">
                  <c:v>41661</c:v>
                </c:pt>
                <c:pt idx="1108">
                  <c:v>41662</c:v>
                </c:pt>
                <c:pt idx="1109">
                  <c:v>41663</c:v>
                </c:pt>
                <c:pt idx="1110">
                  <c:v>41666</c:v>
                </c:pt>
                <c:pt idx="1111">
                  <c:v>41667</c:v>
                </c:pt>
                <c:pt idx="1112">
                  <c:v>41668</c:v>
                </c:pt>
                <c:pt idx="1113">
                  <c:v>41669</c:v>
                </c:pt>
                <c:pt idx="1114">
                  <c:v>41670</c:v>
                </c:pt>
                <c:pt idx="1115">
                  <c:v>41673</c:v>
                </c:pt>
                <c:pt idx="1116">
                  <c:v>41674</c:v>
                </c:pt>
                <c:pt idx="1117">
                  <c:v>41675</c:v>
                </c:pt>
                <c:pt idx="1118">
                  <c:v>41676</c:v>
                </c:pt>
                <c:pt idx="1119">
                  <c:v>41677</c:v>
                </c:pt>
                <c:pt idx="1120">
                  <c:v>41680</c:v>
                </c:pt>
                <c:pt idx="1121">
                  <c:v>41681</c:v>
                </c:pt>
                <c:pt idx="1122">
                  <c:v>41682</c:v>
                </c:pt>
                <c:pt idx="1123">
                  <c:v>41683</c:v>
                </c:pt>
                <c:pt idx="1124">
                  <c:v>41684</c:v>
                </c:pt>
                <c:pt idx="1125">
                  <c:v>41687</c:v>
                </c:pt>
                <c:pt idx="1126">
                  <c:v>41688</c:v>
                </c:pt>
                <c:pt idx="1127">
                  <c:v>41689</c:v>
                </c:pt>
                <c:pt idx="1128">
                  <c:v>41690</c:v>
                </c:pt>
                <c:pt idx="1129">
                  <c:v>41691</c:v>
                </c:pt>
                <c:pt idx="1130">
                  <c:v>41694</c:v>
                </c:pt>
                <c:pt idx="1131">
                  <c:v>41695</c:v>
                </c:pt>
                <c:pt idx="1132">
                  <c:v>41696</c:v>
                </c:pt>
                <c:pt idx="1133">
                  <c:v>41697</c:v>
                </c:pt>
                <c:pt idx="1134">
                  <c:v>41698</c:v>
                </c:pt>
                <c:pt idx="1135">
                  <c:v>41701</c:v>
                </c:pt>
                <c:pt idx="1136">
                  <c:v>41702</c:v>
                </c:pt>
                <c:pt idx="1137">
                  <c:v>41703</c:v>
                </c:pt>
                <c:pt idx="1138">
                  <c:v>41704</c:v>
                </c:pt>
                <c:pt idx="1139">
                  <c:v>41705</c:v>
                </c:pt>
                <c:pt idx="1140">
                  <c:v>41708</c:v>
                </c:pt>
                <c:pt idx="1141">
                  <c:v>41709</c:v>
                </c:pt>
                <c:pt idx="1142">
                  <c:v>41710</c:v>
                </c:pt>
                <c:pt idx="1143">
                  <c:v>41711</c:v>
                </c:pt>
                <c:pt idx="1144">
                  <c:v>41712</c:v>
                </c:pt>
                <c:pt idx="1145">
                  <c:v>41715</c:v>
                </c:pt>
                <c:pt idx="1146">
                  <c:v>41716</c:v>
                </c:pt>
                <c:pt idx="1147">
                  <c:v>41717</c:v>
                </c:pt>
                <c:pt idx="1148">
                  <c:v>41718</c:v>
                </c:pt>
                <c:pt idx="1149">
                  <c:v>41719</c:v>
                </c:pt>
                <c:pt idx="1150">
                  <c:v>41722</c:v>
                </c:pt>
                <c:pt idx="1151">
                  <c:v>41723</c:v>
                </c:pt>
                <c:pt idx="1152">
                  <c:v>41724</c:v>
                </c:pt>
                <c:pt idx="1153">
                  <c:v>41725</c:v>
                </c:pt>
                <c:pt idx="1154">
                  <c:v>41726</c:v>
                </c:pt>
                <c:pt idx="1155">
                  <c:v>41729</c:v>
                </c:pt>
                <c:pt idx="1156">
                  <c:v>41730</c:v>
                </c:pt>
                <c:pt idx="1157">
                  <c:v>41731</c:v>
                </c:pt>
                <c:pt idx="1158">
                  <c:v>41732</c:v>
                </c:pt>
                <c:pt idx="1159">
                  <c:v>41733</c:v>
                </c:pt>
                <c:pt idx="1160">
                  <c:v>41736</c:v>
                </c:pt>
                <c:pt idx="1161">
                  <c:v>41737</c:v>
                </c:pt>
                <c:pt idx="1162">
                  <c:v>41738</c:v>
                </c:pt>
                <c:pt idx="1163">
                  <c:v>41739</c:v>
                </c:pt>
                <c:pt idx="1164">
                  <c:v>41740</c:v>
                </c:pt>
                <c:pt idx="1165">
                  <c:v>41743</c:v>
                </c:pt>
                <c:pt idx="1166">
                  <c:v>41744</c:v>
                </c:pt>
                <c:pt idx="1167">
                  <c:v>41745</c:v>
                </c:pt>
                <c:pt idx="1168">
                  <c:v>41746</c:v>
                </c:pt>
                <c:pt idx="1169">
                  <c:v>41751</c:v>
                </c:pt>
                <c:pt idx="1170">
                  <c:v>41752</c:v>
                </c:pt>
                <c:pt idx="1171">
                  <c:v>41753</c:v>
                </c:pt>
                <c:pt idx="1172">
                  <c:v>41754</c:v>
                </c:pt>
                <c:pt idx="1173">
                  <c:v>41757</c:v>
                </c:pt>
                <c:pt idx="1174">
                  <c:v>41758</c:v>
                </c:pt>
                <c:pt idx="1175">
                  <c:v>41759</c:v>
                </c:pt>
                <c:pt idx="1176">
                  <c:v>41760</c:v>
                </c:pt>
                <c:pt idx="1177">
                  <c:v>41761</c:v>
                </c:pt>
                <c:pt idx="1178">
                  <c:v>41764</c:v>
                </c:pt>
                <c:pt idx="1179">
                  <c:v>41765</c:v>
                </c:pt>
                <c:pt idx="1180">
                  <c:v>41766</c:v>
                </c:pt>
                <c:pt idx="1181">
                  <c:v>41767</c:v>
                </c:pt>
                <c:pt idx="1182">
                  <c:v>41768</c:v>
                </c:pt>
                <c:pt idx="1183">
                  <c:v>41771</c:v>
                </c:pt>
                <c:pt idx="1184">
                  <c:v>41772</c:v>
                </c:pt>
                <c:pt idx="1185">
                  <c:v>41773</c:v>
                </c:pt>
                <c:pt idx="1186">
                  <c:v>41774</c:v>
                </c:pt>
                <c:pt idx="1187">
                  <c:v>41775</c:v>
                </c:pt>
                <c:pt idx="1188">
                  <c:v>41778</c:v>
                </c:pt>
                <c:pt idx="1189">
                  <c:v>41779</c:v>
                </c:pt>
                <c:pt idx="1190">
                  <c:v>41780</c:v>
                </c:pt>
                <c:pt idx="1191">
                  <c:v>41781</c:v>
                </c:pt>
                <c:pt idx="1192">
                  <c:v>41782</c:v>
                </c:pt>
                <c:pt idx="1193">
                  <c:v>41785</c:v>
                </c:pt>
                <c:pt idx="1194">
                  <c:v>41786</c:v>
                </c:pt>
                <c:pt idx="1195">
                  <c:v>41787</c:v>
                </c:pt>
                <c:pt idx="1196">
                  <c:v>41788</c:v>
                </c:pt>
                <c:pt idx="1197">
                  <c:v>41789</c:v>
                </c:pt>
                <c:pt idx="1198">
                  <c:v>41792</c:v>
                </c:pt>
                <c:pt idx="1199">
                  <c:v>41793</c:v>
                </c:pt>
                <c:pt idx="1200">
                  <c:v>41794</c:v>
                </c:pt>
                <c:pt idx="1201">
                  <c:v>41795</c:v>
                </c:pt>
                <c:pt idx="1202">
                  <c:v>41796</c:v>
                </c:pt>
                <c:pt idx="1203">
                  <c:v>41799</c:v>
                </c:pt>
                <c:pt idx="1204">
                  <c:v>41800</c:v>
                </c:pt>
                <c:pt idx="1205">
                  <c:v>41801</c:v>
                </c:pt>
                <c:pt idx="1206">
                  <c:v>41802</c:v>
                </c:pt>
                <c:pt idx="1207">
                  <c:v>41803</c:v>
                </c:pt>
                <c:pt idx="1208">
                  <c:v>41806</c:v>
                </c:pt>
                <c:pt idx="1209">
                  <c:v>41807</c:v>
                </c:pt>
                <c:pt idx="1210">
                  <c:v>41808</c:v>
                </c:pt>
                <c:pt idx="1211">
                  <c:v>41809</c:v>
                </c:pt>
                <c:pt idx="1212">
                  <c:v>41810</c:v>
                </c:pt>
                <c:pt idx="1213">
                  <c:v>41813</c:v>
                </c:pt>
                <c:pt idx="1214">
                  <c:v>41814</c:v>
                </c:pt>
                <c:pt idx="1215">
                  <c:v>41815</c:v>
                </c:pt>
                <c:pt idx="1216">
                  <c:v>41816</c:v>
                </c:pt>
                <c:pt idx="1217">
                  <c:v>41817</c:v>
                </c:pt>
                <c:pt idx="1218">
                  <c:v>41820</c:v>
                </c:pt>
                <c:pt idx="1219">
                  <c:v>41821</c:v>
                </c:pt>
                <c:pt idx="1220">
                  <c:v>41822</c:v>
                </c:pt>
                <c:pt idx="1221">
                  <c:v>41823</c:v>
                </c:pt>
                <c:pt idx="1222">
                  <c:v>41824</c:v>
                </c:pt>
                <c:pt idx="1223">
                  <c:v>41827</c:v>
                </c:pt>
                <c:pt idx="1224">
                  <c:v>41828</c:v>
                </c:pt>
                <c:pt idx="1225">
                  <c:v>41829</c:v>
                </c:pt>
                <c:pt idx="1226">
                  <c:v>41830</c:v>
                </c:pt>
                <c:pt idx="1227">
                  <c:v>41831</c:v>
                </c:pt>
                <c:pt idx="1228">
                  <c:v>41834</c:v>
                </c:pt>
                <c:pt idx="1229">
                  <c:v>41835</c:v>
                </c:pt>
                <c:pt idx="1230">
                  <c:v>41836</c:v>
                </c:pt>
                <c:pt idx="1231">
                  <c:v>41837</c:v>
                </c:pt>
                <c:pt idx="1232">
                  <c:v>41838</c:v>
                </c:pt>
                <c:pt idx="1233">
                  <c:v>41841</c:v>
                </c:pt>
                <c:pt idx="1234">
                  <c:v>41842</c:v>
                </c:pt>
                <c:pt idx="1235">
                  <c:v>41843</c:v>
                </c:pt>
                <c:pt idx="1236">
                  <c:v>41844</c:v>
                </c:pt>
                <c:pt idx="1237">
                  <c:v>41845</c:v>
                </c:pt>
                <c:pt idx="1238">
                  <c:v>41848</c:v>
                </c:pt>
                <c:pt idx="1239">
                  <c:v>41849</c:v>
                </c:pt>
                <c:pt idx="1240">
                  <c:v>41850</c:v>
                </c:pt>
                <c:pt idx="1241">
                  <c:v>41851</c:v>
                </c:pt>
                <c:pt idx="1242">
                  <c:v>41852</c:v>
                </c:pt>
                <c:pt idx="1243">
                  <c:v>41855</c:v>
                </c:pt>
                <c:pt idx="1244">
                  <c:v>41856</c:v>
                </c:pt>
                <c:pt idx="1245">
                  <c:v>41857</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253352192"/>
        <c:axId val="253358080"/>
      </c:lineChart>
      <c:dateAx>
        <c:axId val="253352192"/>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53358080"/>
        <c:crosses val="autoZero"/>
        <c:auto val="1"/>
        <c:lblOffset val="100"/>
        <c:baseTimeUnit val="days"/>
      </c:dateAx>
      <c:valAx>
        <c:axId val="253358080"/>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53352192"/>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Basic Resources</c:v>
                </c:pt>
                <c:pt idx="1">
                  <c:v>Travel &amp; Leisure</c:v>
                </c:pt>
                <c:pt idx="2">
                  <c:v>Real Estate</c:v>
                </c:pt>
                <c:pt idx="3">
                  <c:v>Utilities</c:v>
                </c:pt>
                <c:pt idx="4">
                  <c:v>Food &amp; Beverage</c:v>
                </c:pt>
                <c:pt idx="5">
                  <c:v>Automobiles &amp; Parts</c:v>
                </c:pt>
                <c:pt idx="6">
                  <c:v>Industrial Goods &amp; Services</c:v>
                </c:pt>
                <c:pt idx="7">
                  <c:v>Telecommunications</c:v>
                </c:pt>
                <c:pt idx="8">
                  <c:v>Oil &amp; Gas</c:v>
                </c:pt>
                <c:pt idx="9">
                  <c:v>Banks</c:v>
                </c:pt>
              </c:strCache>
            </c:strRef>
          </c:cat>
          <c:val>
            <c:numRef>
              <c:f>Sheet1!$B$2:$B$11</c:f>
              <c:numCache>
                <c:formatCode>0.00%</c:formatCode>
                <c:ptCount val="10"/>
                <c:pt idx="0">
                  <c:v>1.268E-2</c:v>
                </c:pt>
                <c:pt idx="1">
                  <c:v>1.5629000000000001E-2</c:v>
                </c:pt>
                <c:pt idx="2">
                  <c:v>2.8416899999999995E-2</c:v>
                </c:pt>
                <c:pt idx="3">
                  <c:v>3.5947599999999996E-2</c:v>
                </c:pt>
                <c:pt idx="4">
                  <c:v>4.4984500000000004E-2</c:v>
                </c:pt>
                <c:pt idx="5">
                  <c:v>4.5458699999999998E-2</c:v>
                </c:pt>
                <c:pt idx="6">
                  <c:v>6.16822E-2</c:v>
                </c:pt>
                <c:pt idx="7">
                  <c:v>0.14916549999999998</c:v>
                </c:pt>
                <c:pt idx="8">
                  <c:v>0.15683410000000003</c:v>
                </c:pt>
                <c:pt idx="9">
                  <c:v>0.41951189999999999</c:v>
                </c:pt>
              </c:numCache>
            </c:numRef>
          </c:val>
        </c:ser>
        <c:dLbls>
          <c:showLegendKey val="0"/>
          <c:showVal val="0"/>
          <c:showCatName val="0"/>
          <c:showSerName val="0"/>
          <c:showPercent val="0"/>
          <c:showBubbleSize val="0"/>
        </c:dLbls>
        <c:gapWidth val="150"/>
        <c:axId val="258921600"/>
        <c:axId val="258923136"/>
      </c:barChart>
      <c:catAx>
        <c:axId val="25892160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58923136"/>
        <c:crosses val="autoZero"/>
        <c:auto val="1"/>
        <c:lblAlgn val="ctr"/>
        <c:lblOffset val="100"/>
        <c:noMultiLvlLbl val="0"/>
      </c:catAx>
      <c:valAx>
        <c:axId val="258923136"/>
        <c:scaling>
          <c:orientation val="minMax"/>
        </c:scaling>
        <c:delete val="1"/>
        <c:axPos val="b"/>
        <c:numFmt formatCode="0.00%" sourceLinked="1"/>
        <c:majorTickMark val="out"/>
        <c:minorTickMark val="none"/>
        <c:tickLblPos val="nextTo"/>
        <c:crossAx val="25892160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6</c:f>
              <c:strCache>
                <c:ptCount val="5"/>
                <c:pt idx="0">
                  <c:v>Philipines</c:v>
                </c:pt>
                <c:pt idx="1">
                  <c:v>Indonesia</c:v>
                </c:pt>
                <c:pt idx="2">
                  <c:v>Thailand</c:v>
                </c:pt>
                <c:pt idx="3">
                  <c:v>Malaysia</c:v>
                </c:pt>
                <c:pt idx="4">
                  <c:v>Singapore</c:v>
                </c:pt>
              </c:strCache>
            </c:strRef>
          </c:cat>
          <c:val>
            <c:numRef>
              <c:f>Sheet1!$B$2:$B$6</c:f>
              <c:numCache>
                <c:formatCode>0.00%</c:formatCode>
                <c:ptCount val="5"/>
                <c:pt idx="0">
                  <c:v>2.8409799999999999E-2</c:v>
                </c:pt>
                <c:pt idx="1">
                  <c:v>0.13069720000000001</c:v>
                </c:pt>
                <c:pt idx="2">
                  <c:v>0.1429964</c:v>
                </c:pt>
                <c:pt idx="3">
                  <c:v>0.19616859999999994</c:v>
                </c:pt>
                <c:pt idx="4">
                  <c:v>0.50172790000000012</c:v>
                </c:pt>
              </c:numCache>
            </c:numRef>
          </c:val>
        </c:ser>
        <c:dLbls>
          <c:showLegendKey val="0"/>
          <c:showVal val="0"/>
          <c:showCatName val="0"/>
          <c:showSerName val="0"/>
          <c:showPercent val="0"/>
          <c:showBubbleSize val="0"/>
        </c:dLbls>
        <c:gapWidth val="150"/>
        <c:axId val="260819584"/>
        <c:axId val="260833664"/>
      </c:barChart>
      <c:catAx>
        <c:axId val="260819584"/>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0833664"/>
        <c:crosses val="autoZero"/>
        <c:auto val="1"/>
        <c:lblAlgn val="ctr"/>
        <c:lblOffset val="100"/>
        <c:noMultiLvlLbl val="0"/>
      </c:catAx>
      <c:valAx>
        <c:axId val="260833664"/>
        <c:scaling>
          <c:orientation val="minMax"/>
        </c:scaling>
        <c:delete val="1"/>
        <c:axPos val="b"/>
        <c:numFmt formatCode="0.00%" sourceLinked="1"/>
        <c:majorTickMark val="out"/>
        <c:minorTickMark val="none"/>
        <c:tickLblPos val="nextTo"/>
        <c:crossAx val="260819584"/>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1.11.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p>
            <a:fld id="{9BEA5DDF-2960-4E08-B817-8D6E2428CC8E}" type="slidenum">
              <a:rPr lang="de-DE" smtClean="0">
                <a:solidFill>
                  <a:prstClr val="black"/>
                </a:solidFill>
              </a:rPr>
              <a:pPr/>
              <a:t>3</a:t>
            </a:fld>
            <a:endParaRPr lang="de-DE" dirty="0" smtClean="0">
              <a:solidFill>
                <a:prstClr val="black"/>
              </a:solidFill>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4</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8</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10</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10</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4.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October, 2014</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ASEAN-FIVE SELECT DIVIDEND 5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5</a:t>
            </a:r>
            <a:endParaRPr lang="en-US" dirty="0" smtClean="0"/>
          </a:p>
          <a:p>
            <a:r>
              <a:rPr lang="en-US" dirty="0" smtClean="0"/>
              <a:t>Risk and return overview	Page 6</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en-US" dirty="0" smtClean="0"/>
              <a:t>Investment case</a:t>
            </a:r>
          </a:p>
        </p:txBody>
      </p:sp>
      <p:sp>
        <p:nvSpPr>
          <p:cNvPr id="13" name="Textplatzhalter 12"/>
          <p:cNvSpPr>
            <a:spLocks noGrp="1"/>
          </p:cNvSpPr>
          <p:nvPr>
            <p:ph type="body" sz="quarter" idx="13"/>
          </p:nvPr>
        </p:nvSpPr>
        <p:spPr>
          <a:xfrm>
            <a:off x="368300" y="1338362"/>
            <a:ext cx="9158288" cy="292388"/>
          </a:xfrm>
        </p:spPr>
        <p:txBody>
          <a:bodyPr/>
          <a:lstStyle/>
          <a:p>
            <a:pPr fontAlgn="base">
              <a:spcBef>
                <a:spcPct val="0"/>
              </a:spcBef>
              <a:spcAft>
                <a:spcPct val="0"/>
              </a:spcAft>
            </a:pPr>
            <a:r>
              <a:rPr lang="en-US" dirty="0">
                <a:solidFill>
                  <a:srgbClr val="000000"/>
                </a:solidFill>
              </a:rPr>
              <a:t>ASEAN’s economic rise, resilience gaining attention from investors</a:t>
            </a:r>
          </a:p>
        </p:txBody>
      </p:sp>
      <p:sp>
        <p:nvSpPr>
          <p:cNvPr id="14" name="Rectangle 5"/>
          <p:cNvSpPr>
            <a:spLocks noChangeArrowheads="1"/>
          </p:cNvSpPr>
          <p:nvPr/>
        </p:nvSpPr>
        <p:spPr bwMode="auto">
          <a:xfrm>
            <a:off x="2000250" y="1837382"/>
            <a:ext cx="7526338" cy="738082"/>
          </a:xfrm>
          <a:prstGeom prst="rect">
            <a:avLst/>
          </a:prstGeom>
          <a:noFill/>
          <a:ln w="9525">
            <a:noFill/>
            <a:miter lim="800000"/>
            <a:headEnd/>
            <a:tailEnd/>
          </a:ln>
        </p:spPr>
        <p:txBody>
          <a:bodyPr wrap="square" lIns="0" tIns="3600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srgbClr val="000000"/>
                </a:solidFill>
              </a:rPr>
              <a:t>ASEAN</a:t>
            </a:r>
            <a:r>
              <a:rPr lang="en-US" sz="1600" baseline="30000" dirty="0" smtClean="0">
                <a:solidFill>
                  <a:srgbClr val="000000"/>
                </a:solidFill>
              </a:rPr>
              <a:t>1)</a:t>
            </a:r>
            <a:r>
              <a:rPr lang="en-US" sz="1600" dirty="0" smtClean="0">
                <a:solidFill>
                  <a:srgbClr val="000000"/>
                </a:solidFill>
              </a:rPr>
              <a:t> GDP </a:t>
            </a:r>
            <a:r>
              <a:rPr lang="en-US" sz="1600" dirty="0">
                <a:solidFill>
                  <a:srgbClr val="000000"/>
                </a:solidFill>
              </a:rPr>
              <a:t>estimated to grow 5.5% annually, on average, from 2013 to 2017</a:t>
            </a:r>
            <a:r>
              <a:rPr lang="en-US" sz="1600" baseline="30000" dirty="0">
                <a:solidFill>
                  <a:srgbClr val="000000"/>
                </a:solidFill>
              </a:rPr>
              <a:t>2</a:t>
            </a:r>
            <a:r>
              <a:rPr lang="en-US" sz="1600" baseline="30000" dirty="0" smtClean="0">
                <a:solidFill>
                  <a:srgbClr val="000000"/>
                </a:solidFill>
              </a:rPr>
              <a:t>) </a:t>
            </a:r>
            <a:endParaRPr lang="en-US" sz="1600" dirty="0">
              <a:solidFill>
                <a:srgbClr val="000000"/>
              </a:solidFill>
            </a:endParaRPr>
          </a:p>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Story of ASEAN development gathering momentum in light of weaker-than-expected performances by developed and BRIC economies</a:t>
            </a:r>
            <a:endParaRPr lang="en-US" sz="1600" baseline="30000" dirty="0">
              <a:solidFill>
                <a:srgbClr val="000000"/>
              </a:solidFill>
            </a:endParaRPr>
          </a:p>
        </p:txBody>
      </p:sp>
      <p:sp>
        <p:nvSpPr>
          <p:cNvPr id="16" name="Rectangle 2"/>
          <p:cNvSpPr>
            <a:spLocks noChangeArrowheads="1"/>
          </p:cNvSpPr>
          <p:nvPr/>
        </p:nvSpPr>
        <p:spPr bwMode="auto">
          <a:xfrm>
            <a:off x="368300" y="1837381"/>
            <a:ext cx="1533525" cy="963612"/>
          </a:xfrm>
          <a:prstGeom prst="rect">
            <a:avLst/>
          </a:prstGeom>
          <a:solidFill>
            <a:schemeClr val="accent2"/>
          </a:solidFill>
          <a:ln w="12700" algn="ctr">
            <a:solidFill>
              <a:schemeClr val="accent2"/>
            </a:solidFill>
            <a:miter lim="800000"/>
            <a:headEnd/>
            <a:tailEnd/>
          </a:ln>
        </p:spPr>
        <p:txBody>
          <a:bodyPr lIns="90487" tIns="36000" rIns="0" bIns="0"/>
          <a:lstStyle/>
          <a:p>
            <a:pPr>
              <a:spcBef>
                <a:spcPct val="0"/>
              </a:spcBef>
            </a:pPr>
            <a:r>
              <a:rPr lang="en-US" sz="1600" b="1" dirty="0">
                <a:solidFill>
                  <a:srgbClr val="FFFFFF"/>
                </a:solidFill>
              </a:rPr>
              <a:t>Strong GDP growth forecast</a:t>
            </a:r>
          </a:p>
          <a:p>
            <a:pPr>
              <a:spcBef>
                <a:spcPct val="0"/>
              </a:spcBef>
            </a:pPr>
            <a:endParaRPr lang="en-US" sz="1600" b="1" dirty="0">
              <a:solidFill>
                <a:prstClr val="white"/>
              </a:solidFill>
            </a:endParaRPr>
          </a:p>
        </p:txBody>
      </p:sp>
      <p:sp>
        <p:nvSpPr>
          <p:cNvPr id="17" name="Line 7"/>
          <p:cNvSpPr>
            <a:spLocks noChangeShapeType="1"/>
          </p:cNvSpPr>
          <p:nvPr/>
        </p:nvSpPr>
        <p:spPr bwMode="auto">
          <a:xfrm>
            <a:off x="368300" y="3075442"/>
            <a:ext cx="9158288" cy="0"/>
          </a:xfrm>
          <a:prstGeom prst="line">
            <a:avLst/>
          </a:prstGeom>
          <a:noFill/>
          <a:ln w="19050">
            <a:solidFill>
              <a:schemeClr val="tx2"/>
            </a:solidFill>
            <a:round/>
            <a:headEnd/>
            <a:tailEnd/>
          </a:ln>
        </p:spPr>
        <p:txBody>
          <a:bodyPr wrap="square" lIns="0" tIns="0" rIns="0" bIns="0">
            <a:spAutoFit/>
          </a:bodyPr>
          <a:lstStyle/>
          <a:p>
            <a:endParaRPr lang="en-US" sz="1600" dirty="0">
              <a:solidFill>
                <a:prstClr val="black"/>
              </a:solidFill>
            </a:endParaRPr>
          </a:p>
        </p:txBody>
      </p:sp>
      <p:sp>
        <p:nvSpPr>
          <p:cNvPr id="19" name="Rectangle 9"/>
          <p:cNvSpPr>
            <a:spLocks noChangeArrowheads="1"/>
          </p:cNvSpPr>
          <p:nvPr/>
        </p:nvSpPr>
        <p:spPr bwMode="auto">
          <a:xfrm>
            <a:off x="2000250" y="3349891"/>
            <a:ext cx="7526338" cy="731837"/>
          </a:xfrm>
          <a:prstGeom prst="rect">
            <a:avLst/>
          </a:prstGeom>
          <a:noFill/>
          <a:ln w="9525">
            <a:noFill/>
            <a:miter lim="800000"/>
            <a:headEnd/>
            <a:tailEnd/>
          </a:ln>
        </p:spPr>
        <p:txBody>
          <a:bodyPr wrap="square" lIns="0" tIns="3600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Planned 2015 launch of AEC, a vision similar to the EU, expected to bring synergies by aligning capital and know-how of advanced countries to the competitive costs and abundant resources and labor of less-developed members</a:t>
            </a:r>
          </a:p>
        </p:txBody>
      </p:sp>
      <p:sp>
        <p:nvSpPr>
          <p:cNvPr id="20" name="Rectangle 2"/>
          <p:cNvSpPr>
            <a:spLocks noChangeArrowheads="1"/>
          </p:cNvSpPr>
          <p:nvPr/>
        </p:nvSpPr>
        <p:spPr bwMode="auto">
          <a:xfrm>
            <a:off x="368300" y="3349890"/>
            <a:ext cx="1533525" cy="963612"/>
          </a:xfrm>
          <a:prstGeom prst="rect">
            <a:avLst/>
          </a:prstGeom>
          <a:solidFill>
            <a:schemeClr val="accent2"/>
          </a:solidFill>
          <a:ln w="12700" algn="ctr">
            <a:solidFill>
              <a:schemeClr val="accent2"/>
            </a:solidFill>
            <a:miter lim="800000"/>
            <a:headEnd/>
            <a:tailEnd/>
          </a:ln>
        </p:spPr>
        <p:txBody>
          <a:bodyPr lIns="90487" tIns="36000" rIns="0" bIns="0"/>
          <a:lstStyle/>
          <a:p>
            <a:pPr>
              <a:spcBef>
                <a:spcPct val="0"/>
              </a:spcBef>
            </a:pPr>
            <a:r>
              <a:rPr lang="en-US" sz="1600" b="1" dirty="0">
                <a:solidFill>
                  <a:srgbClr val="FFFFFF"/>
                </a:solidFill>
              </a:rPr>
              <a:t>ASEAN Economic Community</a:t>
            </a:r>
          </a:p>
          <a:p>
            <a:pPr>
              <a:spcBef>
                <a:spcPct val="0"/>
              </a:spcBef>
            </a:pPr>
            <a:endParaRPr lang="en-US" sz="1600" b="1" dirty="0">
              <a:solidFill>
                <a:prstClr val="white"/>
              </a:solidFill>
            </a:endParaRPr>
          </a:p>
        </p:txBody>
      </p:sp>
      <p:sp>
        <p:nvSpPr>
          <p:cNvPr id="21" name="Line 11"/>
          <p:cNvSpPr>
            <a:spLocks noChangeShapeType="1"/>
          </p:cNvSpPr>
          <p:nvPr/>
        </p:nvSpPr>
        <p:spPr bwMode="auto">
          <a:xfrm>
            <a:off x="368300" y="4587951"/>
            <a:ext cx="9158288" cy="0"/>
          </a:xfrm>
          <a:prstGeom prst="line">
            <a:avLst/>
          </a:prstGeom>
          <a:noFill/>
          <a:ln w="19050">
            <a:solidFill>
              <a:schemeClr val="tx2"/>
            </a:solidFill>
            <a:round/>
            <a:headEnd/>
            <a:tailEnd/>
          </a:ln>
        </p:spPr>
        <p:txBody>
          <a:bodyPr wrap="square" lIns="0" tIns="0" rIns="0" bIns="0">
            <a:spAutoFit/>
          </a:bodyPr>
          <a:lstStyle/>
          <a:p>
            <a:endParaRPr lang="en-US" sz="1600" dirty="0">
              <a:solidFill>
                <a:prstClr val="black"/>
              </a:solidFill>
            </a:endParaRPr>
          </a:p>
        </p:txBody>
      </p:sp>
      <p:sp>
        <p:nvSpPr>
          <p:cNvPr id="22" name="Rectangle 13"/>
          <p:cNvSpPr>
            <a:spLocks noChangeArrowheads="1"/>
          </p:cNvSpPr>
          <p:nvPr/>
        </p:nvSpPr>
        <p:spPr bwMode="auto">
          <a:xfrm>
            <a:off x="2000250" y="4862397"/>
            <a:ext cx="7526338" cy="1439813"/>
          </a:xfrm>
          <a:prstGeom prst="rect">
            <a:avLst/>
          </a:prstGeom>
          <a:noFill/>
          <a:ln w="9525">
            <a:noFill/>
            <a:miter lim="800000"/>
            <a:headEnd/>
            <a:tailEnd/>
          </a:ln>
        </p:spPr>
        <p:txBody>
          <a:bodyPr wrap="square" lIns="0" tIns="3600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Median age in ASEAN is 27.9 years, much lower than Germany (45.3) and US (37.8). Even lower than world median age of 28.4 years</a:t>
            </a:r>
            <a:r>
              <a:rPr lang="en-US" sz="1600" baseline="30000" dirty="0">
                <a:solidFill>
                  <a:srgbClr val="000000"/>
                </a:solidFill>
              </a:rPr>
              <a:t>3)</a:t>
            </a:r>
            <a:r>
              <a:rPr lang="en-US" sz="1600" dirty="0">
                <a:solidFill>
                  <a:srgbClr val="000000"/>
                </a:solidFill>
              </a:rPr>
              <a:t>. ASEAN 2012 population around 600 </a:t>
            </a:r>
            <a:r>
              <a:rPr lang="en-US" sz="1600" dirty="0" err="1">
                <a:solidFill>
                  <a:srgbClr val="000000"/>
                </a:solidFill>
              </a:rPr>
              <a:t>mn</a:t>
            </a:r>
            <a:r>
              <a:rPr lang="en-US" sz="1600" dirty="0">
                <a:solidFill>
                  <a:srgbClr val="000000"/>
                </a:solidFill>
              </a:rPr>
              <a:t>, compared with 1.35 </a:t>
            </a:r>
            <a:r>
              <a:rPr lang="en-US" sz="1600" dirty="0" err="1">
                <a:solidFill>
                  <a:srgbClr val="000000"/>
                </a:solidFill>
              </a:rPr>
              <a:t>bn</a:t>
            </a:r>
            <a:r>
              <a:rPr lang="en-US" sz="1600" dirty="0">
                <a:solidFill>
                  <a:srgbClr val="000000"/>
                </a:solidFill>
              </a:rPr>
              <a:t> for China, 314 </a:t>
            </a:r>
            <a:r>
              <a:rPr lang="en-US" sz="1600" dirty="0" err="1">
                <a:solidFill>
                  <a:srgbClr val="000000"/>
                </a:solidFill>
              </a:rPr>
              <a:t>mn</a:t>
            </a:r>
            <a:r>
              <a:rPr lang="en-US" sz="1600" dirty="0">
                <a:solidFill>
                  <a:srgbClr val="000000"/>
                </a:solidFill>
              </a:rPr>
              <a:t> for US and 740 </a:t>
            </a:r>
            <a:r>
              <a:rPr lang="en-US" sz="1600" dirty="0" err="1">
                <a:solidFill>
                  <a:srgbClr val="000000"/>
                </a:solidFill>
              </a:rPr>
              <a:t>mn</a:t>
            </a:r>
            <a:r>
              <a:rPr lang="en-US" sz="1600" dirty="0">
                <a:solidFill>
                  <a:srgbClr val="000000"/>
                </a:solidFill>
              </a:rPr>
              <a:t> for the 27-member EU</a:t>
            </a:r>
            <a:r>
              <a:rPr lang="en-US" sz="1600" baseline="30000" dirty="0">
                <a:solidFill>
                  <a:srgbClr val="000000"/>
                </a:solidFill>
              </a:rPr>
              <a:t>4)</a:t>
            </a:r>
          </a:p>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Declining infant mortality rate means more people expected to enter the workforce in the future</a:t>
            </a:r>
          </a:p>
        </p:txBody>
      </p:sp>
      <p:sp>
        <p:nvSpPr>
          <p:cNvPr id="23" name="Rectangle 2"/>
          <p:cNvSpPr>
            <a:spLocks noChangeArrowheads="1"/>
          </p:cNvSpPr>
          <p:nvPr/>
        </p:nvSpPr>
        <p:spPr bwMode="auto">
          <a:xfrm>
            <a:off x="368300" y="4862397"/>
            <a:ext cx="1533525" cy="963612"/>
          </a:xfrm>
          <a:prstGeom prst="rect">
            <a:avLst/>
          </a:prstGeom>
          <a:solidFill>
            <a:schemeClr val="accent2"/>
          </a:solidFill>
          <a:ln w="12700" algn="ctr">
            <a:solidFill>
              <a:schemeClr val="accent2"/>
            </a:solidFill>
            <a:miter lim="800000"/>
            <a:headEnd/>
            <a:tailEnd/>
          </a:ln>
        </p:spPr>
        <p:txBody>
          <a:bodyPr lIns="90487" tIns="36000" rIns="0" bIns="0"/>
          <a:lstStyle/>
          <a:p>
            <a:pPr>
              <a:spcBef>
                <a:spcPct val="0"/>
              </a:spcBef>
            </a:pPr>
            <a:r>
              <a:rPr lang="en-US" sz="1600" b="1" dirty="0">
                <a:solidFill>
                  <a:srgbClr val="FFFFFF"/>
                </a:solidFill>
              </a:rPr>
              <a:t>Growing and young population</a:t>
            </a:r>
          </a:p>
          <a:p>
            <a:pPr>
              <a:spcBef>
                <a:spcPct val="0"/>
              </a:spcBef>
            </a:pPr>
            <a:endParaRPr lang="en-US" sz="1600" b="1" dirty="0">
              <a:solidFill>
                <a:prstClr val="white"/>
              </a:solidFill>
            </a:endParaRPr>
          </a:p>
        </p:txBody>
      </p:sp>
      <p:sp>
        <p:nvSpPr>
          <p:cNvPr id="2" name="Text Placeholder 1"/>
          <p:cNvSpPr>
            <a:spLocks noGrp="1"/>
          </p:cNvSpPr>
          <p:nvPr>
            <p:ph type="body" sz="quarter" idx="12"/>
          </p:nvPr>
        </p:nvSpPr>
        <p:spPr>
          <a:xfrm>
            <a:off x="1704043" y="6368303"/>
            <a:ext cx="7410620" cy="171450"/>
          </a:xfrm>
        </p:spPr>
        <p:txBody>
          <a:bodyPr/>
          <a:lstStyle/>
          <a:p>
            <a:pPr marL="0" indent="0">
              <a:buNone/>
            </a:pPr>
            <a:r>
              <a:rPr lang="de-CH" dirty="0" smtClean="0">
                <a:solidFill>
                  <a:schemeClr val="bg1">
                    <a:lumMod val="65000"/>
                  </a:schemeClr>
                </a:solidFill>
                <a:latin typeface="Arial" pitchFamily="34" charset="0"/>
                <a:cs typeface="Arial" pitchFamily="34" charset="0"/>
              </a:rPr>
              <a:t>(1) ASEAN</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the</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Association</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of</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Southeast</a:t>
            </a:r>
            <a:r>
              <a:rPr lang="de-CH" dirty="0">
                <a:solidFill>
                  <a:schemeClr val="bg1">
                    <a:lumMod val="65000"/>
                  </a:schemeClr>
                </a:solidFill>
                <a:latin typeface="Arial" pitchFamily="34" charset="0"/>
                <a:cs typeface="Arial" pitchFamily="34" charset="0"/>
              </a:rPr>
              <a:t> Asian </a:t>
            </a:r>
            <a:r>
              <a:rPr lang="de-CH" dirty="0" err="1">
                <a:solidFill>
                  <a:schemeClr val="bg1">
                    <a:lumMod val="65000"/>
                  </a:schemeClr>
                </a:solidFill>
                <a:latin typeface="Arial" pitchFamily="34" charset="0"/>
                <a:cs typeface="Arial" pitchFamily="34" charset="0"/>
              </a:rPr>
              <a:t>Nations</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is</a:t>
            </a:r>
            <a:r>
              <a:rPr lang="de-CH" dirty="0">
                <a:solidFill>
                  <a:schemeClr val="bg1">
                    <a:lumMod val="65000"/>
                  </a:schemeClr>
                </a:solidFill>
                <a:latin typeface="Arial" pitchFamily="34" charset="0"/>
                <a:cs typeface="Arial" pitchFamily="34" charset="0"/>
              </a:rPr>
              <a:t> a bloc </a:t>
            </a:r>
            <a:r>
              <a:rPr lang="de-CH" dirty="0" err="1">
                <a:solidFill>
                  <a:schemeClr val="bg1">
                    <a:lumMod val="65000"/>
                  </a:schemeClr>
                </a:solidFill>
                <a:latin typeface="Arial" pitchFamily="34" charset="0"/>
                <a:cs typeface="Arial" pitchFamily="34" charset="0"/>
              </a:rPr>
              <a:t>of</a:t>
            </a:r>
            <a:r>
              <a:rPr lang="de-CH" dirty="0">
                <a:solidFill>
                  <a:schemeClr val="bg1">
                    <a:lumMod val="65000"/>
                  </a:schemeClr>
                </a:solidFill>
                <a:latin typeface="Arial" pitchFamily="34" charset="0"/>
                <a:cs typeface="Arial" pitchFamily="34" charset="0"/>
              </a:rPr>
              <a:t> 10 </a:t>
            </a:r>
            <a:r>
              <a:rPr lang="de-CH" dirty="0" err="1">
                <a:solidFill>
                  <a:schemeClr val="bg1">
                    <a:lumMod val="65000"/>
                  </a:schemeClr>
                </a:solidFill>
                <a:latin typeface="Arial" pitchFamily="34" charset="0"/>
                <a:cs typeface="Arial" pitchFamily="34" charset="0"/>
              </a:rPr>
              <a:t>nations</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including</a:t>
            </a:r>
            <a:r>
              <a:rPr lang="de-CH" dirty="0">
                <a:solidFill>
                  <a:schemeClr val="bg1">
                    <a:lumMod val="65000"/>
                  </a:schemeClr>
                </a:solidFill>
                <a:latin typeface="Arial" pitchFamily="34" charset="0"/>
                <a:cs typeface="Arial" pitchFamily="34" charset="0"/>
              </a:rPr>
              <a:t> Brunei, Myanmar, </a:t>
            </a:r>
            <a:r>
              <a:rPr lang="de-CH" dirty="0" err="1">
                <a:solidFill>
                  <a:schemeClr val="bg1">
                    <a:lumMod val="65000"/>
                  </a:schemeClr>
                </a:solidFill>
                <a:latin typeface="Arial" pitchFamily="34" charset="0"/>
                <a:cs typeface="Arial" pitchFamily="34" charset="0"/>
              </a:rPr>
              <a:t>Cambodia</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Indonesia</a:t>
            </a:r>
            <a:r>
              <a:rPr lang="de-CH" dirty="0">
                <a:solidFill>
                  <a:schemeClr val="bg1">
                    <a:lumMod val="65000"/>
                  </a:schemeClr>
                </a:solidFill>
                <a:latin typeface="Arial" pitchFamily="34" charset="0"/>
                <a:cs typeface="Arial" pitchFamily="34" charset="0"/>
              </a:rPr>
              <a:t>, Laos, Malaysia, Philippines, </a:t>
            </a:r>
            <a:r>
              <a:rPr lang="de-CH" dirty="0" err="1">
                <a:solidFill>
                  <a:schemeClr val="bg1">
                    <a:lumMod val="65000"/>
                  </a:schemeClr>
                </a:solidFill>
                <a:latin typeface="Arial" pitchFamily="34" charset="0"/>
                <a:cs typeface="Arial" pitchFamily="34" charset="0"/>
              </a:rPr>
              <a:t>Singapore</a:t>
            </a:r>
            <a:r>
              <a:rPr lang="de-CH" dirty="0">
                <a:solidFill>
                  <a:schemeClr val="bg1">
                    <a:lumMod val="65000"/>
                  </a:schemeClr>
                </a:solidFill>
                <a:latin typeface="Arial" pitchFamily="34" charset="0"/>
                <a:cs typeface="Arial" pitchFamily="34" charset="0"/>
              </a:rPr>
              <a:t>, Thailand </a:t>
            </a:r>
            <a:r>
              <a:rPr lang="de-CH" dirty="0" err="1">
                <a:solidFill>
                  <a:schemeClr val="bg1">
                    <a:lumMod val="65000"/>
                  </a:schemeClr>
                </a:solidFill>
                <a:latin typeface="Arial" pitchFamily="34" charset="0"/>
                <a:cs typeface="Arial" pitchFamily="34" charset="0"/>
              </a:rPr>
              <a:t>and</a:t>
            </a:r>
            <a:r>
              <a:rPr lang="de-CH" dirty="0">
                <a:solidFill>
                  <a:schemeClr val="bg1">
                    <a:lumMod val="65000"/>
                  </a:schemeClr>
                </a:solidFill>
                <a:latin typeface="Arial" pitchFamily="34" charset="0"/>
                <a:cs typeface="Arial" pitchFamily="34" charset="0"/>
              </a:rPr>
              <a:t> Vietnam (2) OECD </a:t>
            </a:r>
            <a:r>
              <a:rPr lang="de-CH" dirty="0" err="1">
                <a:solidFill>
                  <a:schemeClr val="bg1">
                    <a:lumMod val="65000"/>
                  </a:schemeClr>
                </a:solidFill>
                <a:latin typeface="Arial" pitchFamily="34" charset="0"/>
                <a:cs typeface="Arial" pitchFamily="34" charset="0"/>
              </a:rPr>
              <a:t>estimates</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for</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the</a:t>
            </a:r>
            <a:r>
              <a:rPr lang="de-CH" dirty="0">
                <a:solidFill>
                  <a:schemeClr val="bg1">
                    <a:lumMod val="65000"/>
                  </a:schemeClr>
                </a:solidFill>
                <a:latin typeface="Arial" pitchFamily="34" charset="0"/>
                <a:cs typeface="Arial" pitchFamily="34" charset="0"/>
              </a:rPr>
              <a:t> 10 ASEAN countries (3) Data </a:t>
            </a:r>
            <a:r>
              <a:rPr lang="de-CH" dirty="0" err="1">
                <a:solidFill>
                  <a:schemeClr val="bg1">
                    <a:lumMod val="65000"/>
                  </a:schemeClr>
                </a:solidFill>
                <a:latin typeface="Arial" pitchFamily="34" charset="0"/>
                <a:cs typeface="Arial" pitchFamily="34" charset="0"/>
              </a:rPr>
              <a:t>from</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Ipsos</a:t>
            </a:r>
            <a:r>
              <a:rPr lang="de-CH" dirty="0">
                <a:solidFill>
                  <a:schemeClr val="bg1">
                    <a:lumMod val="65000"/>
                  </a:schemeClr>
                </a:solidFill>
                <a:latin typeface="Arial" pitchFamily="34" charset="0"/>
                <a:cs typeface="Arial" pitchFamily="34" charset="0"/>
              </a:rPr>
              <a:t> (4) Data </a:t>
            </a:r>
            <a:r>
              <a:rPr lang="de-CH" dirty="0" err="1">
                <a:solidFill>
                  <a:schemeClr val="bg1">
                    <a:lumMod val="65000"/>
                  </a:schemeClr>
                </a:solidFill>
                <a:latin typeface="Arial" pitchFamily="34" charset="0"/>
                <a:cs typeface="Arial" pitchFamily="34" charset="0"/>
              </a:rPr>
              <a:t>from</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Eurostat</a:t>
            </a:r>
            <a:r>
              <a:rPr lang="de-CH" dirty="0">
                <a:solidFill>
                  <a:schemeClr val="bg1">
                    <a:lumMod val="65000"/>
                  </a:schemeClr>
                </a:solidFill>
                <a:latin typeface="Arial" pitchFamily="34" charset="0"/>
                <a:cs typeface="Arial" pitchFamily="34" charset="0"/>
              </a:rPr>
              <a:t> </a:t>
            </a:r>
            <a:r>
              <a:rPr lang="de-CH" dirty="0" err="1">
                <a:solidFill>
                  <a:schemeClr val="bg1">
                    <a:lumMod val="65000"/>
                  </a:schemeClr>
                </a:solidFill>
                <a:latin typeface="Arial" pitchFamily="34" charset="0"/>
                <a:cs typeface="Arial" pitchFamily="34" charset="0"/>
              </a:rPr>
              <a:t>and</a:t>
            </a:r>
            <a:r>
              <a:rPr lang="de-CH" dirty="0">
                <a:solidFill>
                  <a:schemeClr val="bg1">
                    <a:lumMod val="65000"/>
                  </a:schemeClr>
                </a:solidFill>
                <a:latin typeface="Arial" pitchFamily="34" charset="0"/>
                <a:cs typeface="Arial" pitchFamily="34" charset="0"/>
              </a:rPr>
              <a:t> Population Reference Bureau</a:t>
            </a:r>
            <a:endParaRPr lang="en-US" dirty="0">
              <a:solidFill>
                <a:schemeClr val="bg1">
                  <a:lumMod val="65000"/>
                </a:schemeClr>
              </a:solidFill>
              <a:latin typeface="Arial" pitchFamily="34" charset="0"/>
              <a:cs typeface="Arial" pitchFamily="34" charset="0"/>
            </a:endParaRPr>
          </a:p>
          <a:p>
            <a:endParaRPr lang="en-US" dirty="0"/>
          </a:p>
        </p:txBody>
      </p:sp>
    </p:spTree>
    <p:extLst>
      <p:ext uri="{BB962C8B-B14F-4D97-AF65-F5344CB8AC3E}">
        <p14:creationId xmlns:p14="http://schemas.microsoft.com/office/powerpoint/2010/main" val="15824683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3040832"/>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Indonesia, Malaysia, Philippines, Singapore and Thailand - the founding members of ASEAN</a:t>
            </a:r>
          </a:p>
          <a:p>
            <a:pPr marL="190466" lvl="1" indent="-188879" fontAlgn="base">
              <a:lnSpc>
                <a:spcPct val="95000"/>
              </a:lnSpc>
              <a:spcBef>
                <a:spcPct val="0"/>
              </a:spcBef>
              <a:spcAft>
                <a:spcPct val="0"/>
              </a:spcAft>
              <a:buClr>
                <a:srgbClr val="14044E"/>
              </a:buClr>
              <a:buFont typeface="Arial" charset="0"/>
              <a:buChar char="»"/>
            </a:pPr>
            <a:endParaRPr lang="en-US" sz="1600" dirty="0">
              <a:solidFill>
                <a:srgbClr val="000000"/>
              </a:solidFill>
            </a:endParaRPr>
          </a:p>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Nominal per-capita GDP of these five countries was USD4,500 in 2012 compared to USD5,400 for China</a:t>
            </a:r>
          </a:p>
          <a:p>
            <a:pPr marL="190466" lvl="1" indent="-188879" fontAlgn="base">
              <a:lnSpc>
                <a:spcPct val="95000"/>
              </a:lnSpc>
              <a:spcBef>
                <a:spcPct val="0"/>
              </a:spcBef>
              <a:spcAft>
                <a:spcPct val="0"/>
              </a:spcAft>
              <a:buClr>
                <a:srgbClr val="14044E"/>
              </a:buClr>
              <a:buFont typeface="Arial" charset="0"/>
              <a:buChar char="»"/>
            </a:pPr>
            <a:endParaRPr lang="en-US" sz="1600" dirty="0">
              <a:solidFill>
                <a:srgbClr val="000000"/>
              </a:solidFill>
            </a:endParaRPr>
          </a:p>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Other index providers do not offer ASEAN dividend indices. FTSE offers the FTSE/ASEAN 40 Index and the FTSE/ASEAN Index. Dow Jones offers the Dow Jones Islamic Market ASEAN Index</a:t>
            </a:r>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a:solidFill>
                  <a:prstClr val="white"/>
                </a:solidFill>
              </a:rPr>
              <a:t>Targeting five ASEAN </a:t>
            </a:r>
            <a:r>
              <a:rPr lang="en-US" sz="1600" b="1" dirty="0" smtClean="0">
                <a:solidFill>
                  <a:prstClr val="white"/>
                </a:solidFill>
              </a:rPr>
              <a:t>countries</a:t>
            </a:r>
            <a:endParaRPr lang="en-US" sz="1600" b="1" dirty="0">
              <a:solidFill>
                <a:prstClr val="white"/>
              </a:solidFill>
            </a:endParaRPr>
          </a:p>
        </p:txBody>
      </p:sp>
      <p:sp>
        <p:nvSpPr>
          <p:cNvPr id="37893" name="Rectangle 5"/>
          <p:cNvSpPr>
            <a:spLocks noChangeArrowheads="1"/>
          </p:cNvSpPr>
          <p:nvPr/>
        </p:nvSpPr>
        <p:spPr bwMode="auto">
          <a:xfrm>
            <a:off x="5167313" y="2217738"/>
            <a:ext cx="4359275" cy="3040832"/>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These five countries offer a good combination of high growth rates, growing trade and investment and young populations</a:t>
            </a:r>
          </a:p>
          <a:p>
            <a:pPr marL="190466" lvl="1" indent="-188879" fontAlgn="base">
              <a:lnSpc>
                <a:spcPct val="95000"/>
              </a:lnSpc>
              <a:spcBef>
                <a:spcPct val="0"/>
              </a:spcBef>
              <a:spcAft>
                <a:spcPct val="0"/>
              </a:spcAft>
              <a:buClr>
                <a:srgbClr val="14044E"/>
              </a:buClr>
              <a:buFont typeface="Arial" charset="0"/>
              <a:buChar char="»"/>
            </a:pPr>
            <a:endParaRPr lang="en-US" sz="1600" dirty="0">
              <a:solidFill>
                <a:srgbClr val="000000"/>
              </a:solidFill>
            </a:endParaRPr>
          </a:p>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TMIs for these countries already show higher net dividend yields compared to benchmarks for East Asia, North America and a nearly similar net dividend yield compared to Europe</a:t>
            </a:r>
          </a:p>
          <a:p>
            <a:pPr marL="190466" lvl="1" indent="-188879" fontAlgn="base">
              <a:lnSpc>
                <a:spcPct val="95000"/>
              </a:lnSpc>
              <a:spcBef>
                <a:spcPct val="0"/>
              </a:spcBef>
              <a:spcAft>
                <a:spcPct val="0"/>
              </a:spcAft>
              <a:buClr>
                <a:srgbClr val="14044E"/>
              </a:buClr>
              <a:buFont typeface="Arial" charset="0"/>
              <a:buChar char="»"/>
            </a:pPr>
            <a:endParaRPr lang="en-US" sz="1600" b="1" dirty="0">
              <a:solidFill>
                <a:srgbClr val="000000"/>
              </a:solidFill>
            </a:endParaRPr>
          </a:p>
          <a:p>
            <a:pPr marL="190466" lvl="1" indent="-188879" fontAlgn="base">
              <a:lnSpc>
                <a:spcPct val="95000"/>
              </a:lnSpc>
              <a:spcBef>
                <a:spcPct val="0"/>
              </a:spcBef>
              <a:spcAft>
                <a:spcPct val="0"/>
              </a:spcAft>
              <a:buClr>
                <a:srgbClr val="14044E"/>
              </a:buClr>
              <a:buFont typeface="Arial" charset="0"/>
              <a:buChar char="»"/>
            </a:pPr>
            <a:r>
              <a:rPr lang="en-US" sz="1600" dirty="0"/>
              <a:t>Investing in an ASEAN dividend strategy - which caters to liquidity, tradability, lower turnover and dividend sustainability - makes sense</a:t>
            </a: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a:solidFill>
                  <a:srgbClr val="FFFFFF"/>
                </a:solidFill>
              </a:rPr>
              <a:t>A good </a:t>
            </a:r>
            <a:r>
              <a:rPr lang="en-US" sz="1600" b="1" dirty="0" smtClean="0">
                <a:solidFill>
                  <a:srgbClr val="FFFFFF"/>
                </a:solidFill>
              </a:rPr>
              <a:t>mix</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836737"/>
            <a:ext cx="2559525" cy="356616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free-float</a:t>
            </a:r>
          </a:p>
          <a:p>
            <a:pPr marL="1587" lvl="1">
              <a:lnSpc>
                <a:spcPct val="95000"/>
              </a:lnSpc>
              <a:spcBef>
                <a:spcPct val="0"/>
              </a:spcBef>
            </a:pPr>
            <a:r>
              <a:rPr lang="en-US" sz="1600" dirty="0" smtClean="0"/>
              <a:t>market cap with 10%</a:t>
            </a:r>
          </a:p>
          <a:p>
            <a:pPr marL="1587" lvl="1">
              <a:lnSpc>
                <a:spcPct val="95000"/>
              </a:lnSpc>
              <a:spcBef>
                <a:spcPct val="0"/>
              </a:spcBef>
            </a:pPr>
            <a:r>
              <a:rPr lang="en-US" sz="1600" dirty="0" smtClean="0"/>
              <a:t>capping</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 with 35-70 buffer</a:t>
            </a:r>
          </a:p>
          <a:p>
            <a:pPr marL="1587" lvl="1">
              <a:lnSpc>
                <a:spcPct val="95000"/>
              </a:lnSpc>
              <a:spcBef>
                <a:spcPct val="0"/>
              </a:spcBef>
            </a:pPr>
            <a:r>
              <a:rPr lang="en-US" sz="1600" dirty="0" smtClean="0"/>
              <a:t>rule</a:t>
            </a:r>
            <a:endParaRPr lang="en-US" sz="1600" dirty="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0" name="Rectangle 6"/>
          <p:cNvSpPr>
            <a:spLocks noChangeArrowheads="1"/>
          </p:cNvSpPr>
          <p:nvPr/>
        </p:nvSpPr>
        <p:spPr bwMode="auto">
          <a:xfrm>
            <a:off x="3111516" y="4315247"/>
            <a:ext cx="3657600" cy="701731"/>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Top 50 stocks ranked by 12-month historical dividend yield, with maximum of 15 stocks per country</a:t>
            </a:r>
            <a:endParaRPr lang="en-US" sz="1600" b="0" dirty="0"/>
          </a:p>
        </p:txBody>
      </p:sp>
      <p:sp>
        <p:nvSpPr>
          <p:cNvPr id="31" name="Rectangle 6"/>
          <p:cNvSpPr>
            <a:spLocks noChangeArrowheads="1"/>
          </p:cNvSpPr>
          <p:nvPr/>
        </p:nvSpPr>
        <p:spPr bwMode="auto">
          <a:xfrm>
            <a:off x="3111516" y="2530267"/>
            <a:ext cx="3756009" cy="1403461"/>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Select Indonesia, Malaysia, Philippines, Singapore and Thailand</a:t>
            </a:r>
          </a:p>
          <a:p>
            <a:pPr marL="196850" lvl="1" indent="-195263" algn="l" defTabSz="736600">
              <a:lnSpc>
                <a:spcPct val="95000"/>
              </a:lnSpc>
              <a:spcBef>
                <a:spcPct val="0"/>
              </a:spcBef>
              <a:buFont typeface="Arial" charset="0"/>
              <a:buChar char="»"/>
            </a:pPr>
            <a:r>
              <a:rPr lang="en-US" sz="1600" dirty="0" smtClean="0"/>
              <a:t>Exclude stocks with:</a:t>
            </a:r>
          </a:p>
          <a:p>
            <a:pPr marL="654050" lvl="2" indent="-195263" defTabSz="736600">
              <a:lnSpc>
                <a:spcPct val="95000"/>
              </a:lnSpc>
              <a:spcBef>
                <a:spcPct val="0"/>
              </a:spcBef>
              <a:buFont typeface="Arial" charset="0"/>
              <a:buChar char="»"/>
            </a:pPr>
            <a:r>
              <a:rPr lang="en-US" sz="1600" dirty="0" smtClean="0"/>
              <a:t>3-month ADTV below USD1.5 mn</a:t>
            </a:r>
          </a:p>
          <a:p>
            <a:pPr marL="654050" lvl="2" indent="-195263" defTabSz="736600">
              <a:lnSpc>
                <a:spcPct val="95000"/>
              </a:lnSpc>
              <a:spcBef>
                <a:spcPct val="0"/>
              </a:spcBef>
              <a:buFont typeface="Arial" charset="0"/>
              <a:buChar char="»"/>
            </a:pPr>
            <a:r>
              <a:rPr lang="en-US" sz="1600" dirty="0"/>
              <a:t>P</a:t>
            </a:r>
            <a:r>
              <a:rPr lang="en-US" sz="1600" b="0" dirty="0" smtClean="0"/>
              <a:t>ayout ratio &gt;80%</a:t>
            </a:r>
          </a:p>
          <a:p>
            <a:pPr marL="654050" lvl="2" indent="-195263" defTabSz="736600">
              <a:lnSpc>
                <a:spcPct val="95000"/>
              </a:lnSpc>
              <a:spcBef>
                <a:spcPct val="0"/>
              </a:spcBef>
              <a:buFont typeface="Arial" charset="0"/>
              <a:buChar char="»"/>
            </a:pPr>
            <a:r>
              <a:rPr lang="en-US" sz="1600" dirty="0" smtClean="0"/>
              <a:t>Real Estate Investment Trusts</a:t>
            </a:r>
            <a:endParaRPr lang="en-US" sz="1600" b="0" dirty="0" smtClean="0"/>
          </a:p>
        </p:txBody>
      </p:sp>
      <p:sp>
        <p:nvSpPr>
          <p:cNvPr id="32" name="Rectangle 6"/>
          <p:cNvSpPr>
            <a:spLocks noChangeArrowheads="1"/>
          </p:cNvSpPr>
          <p:nvPr/>
        </p:nvSpPr>
        <p:spPr bwMode="auto">
          <a:xfrm>
            <a:off x="3111516" y="1914840"/>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STOXX Asia TMI</a:t>
            </a:r>
            <a:endParaRPr lang="en-US" sz="1600" b="0" dirty="0"/>
          </a:p>
        </p:txBody>
      </p:sp>
      <p:sp>
        <p:nvSpPr>
          <p:cNvPr id="19" name="Flowchart: Merge 18"/>
          <p:cNvSpPr/>
          <p:nvPr/>
        </p:nvSpPr>
        <p:spPr bwMode="auto">
          <a:xfrm>
            <a:off x="365760" y="1833975"/>
            <a:ext cx="2699657" cy="3582575"/>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67671" y="1914840"/>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67671" y="431524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1294776185"/>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4289048697"/>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ASEAN-FIVE </a:t>
                      </a:r>
                      <a:r>
                        <a:rPr kumimoji="0" lang="en-US" sz="1000" b="1" i="0" u="none" strike="noStrike" kern="1200" cap="none" normalizeH="0" baseline="0" noProof="0" dirty="0" err="1" smtClean="0">
                          <a:ln>
                            <a:noFill/>
                          </a:ln>
                          <a:solidFill>
                            <a:schemeClr val="accent1"/>
                          </a:solidFill>
                          <a:effectLst/>
                          <a:latin typeface="Arial"/>
                          <a:ea typeface=""/>
                          <a:cs typeface=""/>
                        </a:rPr>
                        <a:t>Sel</a:t>
                      </a:r>
                      <a:r>
                        <a:rPr kumimoji="0" lang="en-US" sz="1000" b="1" i="0" u="none" strike="noStrike" kern="1200" cap="none" normalizeH="0" baseline="0" noProof="0" dirty="0" smtClean="0">
                          <a:ln>
                            <a:noFill/>
                          </a:ln>
                          <a:solidFill>
                            <a:schemeClr val="accent1"/>
                          </a:solidFill>
                          <a:effectLst/>
                          <a:latin typeface="Arial"/>
                          <a:ea typeface=""/>
                          <a:cs typeface=""/>
                        </a:rPr>
                        <a:t> </a:t>
                      </a:r>
                      <a:r>
                        <a:rPr kumimoji="0" lang="en-US" sz="1000" b="1" i="0" u="none" strike="noStrike" kern="1200" cap="none" normalizeH="0" baseline="0" noProof="0" dirty="0" err="1" smtClean="0">
                          <a:ln>
                            <a:noFill/>
                          </a:ln>
                          <a:solidFill>
                            <a:schemeClr val="accent1"/>
                          </a:solidFill>
                          <a:effectLst/>
                          <a:latin typeface="Arial"/>
                          <a:ea typeface=""/>
                          <a:cs typeface=""/>
                        </a:rPr>
                        <a:t>Div</a:t>
                      </a:r>
                      <a:r>
                        <a:rPr kumimoji="0" lang="en-US" sz="1000" b="1" i="0" u="none" strike="noStrike" kern="1200" cap="none" normalizeH="0" baseline="0" noProof="0" dirty="0" smtClean="0">
                          <a:ln>
                            <a:noFill/>
                          </a:ln>
                          <a:solidFill>
                            <a:schemeClr val="accent1"/>
                          </a:solidFill>
                          <a:effectLst/>
                          <a:latin typeface="Arial"/>
                          <a:ea typeface=""/>
                          <a:cs typeface=""/>
                        </a:rPr>
                        <a:t> 5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Asia TM</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4.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6.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9.5%</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5%</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Oct. 1, 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Oct. 1, 2009 to Sep. 30, 2014</a:t>
            </a:r>
          </a:p>
          <a:p>
            <a:pPr marL="164592" lvl="0" indent="-164592">
              <a:lnSpc>
                <a:spcPct val="95000"/>
              </a:lnSpc>
              <a:spcBef>
                <a:spcPct val="0"/>
              </a:spcBef>
              <a:buFont typeface="+mj-lt"/>
              <a:buAutoNum type="arabicParenR"/>
            </a:pPr>
            <a:r>
              <a:rPr lang="en-US" sz="1000" dirty="0" smtClean="0">
                <a:solidFill>
                  <a:srgbClr val="AFAFAF"/>
                </a:solidFill>
              </a:rPr>
              <a:t>Federal </a:t>
            </a:r>
            <a:r>
              <a:rPr lang="en-US" sz="1000" dirty="0">
                <a:solidFill>
                  <a:srgbClr val="AFAFAF"/>
                </a:solidFill>
              </a:rPr>
              <a:t>f</a:t>
            </a:r>
            <a:r>
              <a:rPr lang="en-US" sz="1000" dirty="0" smtClean="0">
                <a:solidFill>
                  <a:srgbClr val="AFAFAF"/>
                </a:solidFill>
              </a:rPr>
              <a:t>unds rate used </a:t>
            </a:r>
            <a:r>
              <a:rPr lang="en-US" sz="1000" dirty="0" smtClean="0">
                <a:solidFill>
                  <a:srgbClr val="AFAFAF"/>
                </a:solidFill>
              </a:rPr>
              <a:t>as riskless asset to calculate Sharpe ratio</a:t>
            </a:r>
            <a:endParaRPr lang="en-US" sz="1000" b="1" dirty="0" smtClean="0">
              <a:solidFill>
                <a:schemeClr val="accent5"/>
              </a:solidFill>
            </a:endParaRPr>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Oct. 1, 2014 (2) Net dividend </a:t>
            </a:r>
            <a:r>
              <a:rPr lang="en-US" dirty="0">
                <a:solidFill>
                  <a:srgbClr val="AFAFAF"/>
                </a:solidFill>
              </a:rPr>
              <a:t>yield is </a:t>
            </a:r>
            <a:r>
              <a:rPr lang="en-US" dirty="0" smtClean="0">
                <a:solidFill>
                  <a:srgbClr val="AFAFAF"/>
                </a:solidFill>
              </a:rPr>
              <a:t>calculated as Net Return 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3579119208"/>
              </p:ext>
            </p:extLst>
          </p:nvPr>
        </p:nvGraphicFramePr>
        <p:xfrm>
          <a:off x="5156834" y="2225820"/>
          <a:ext cx="4357687" cy="1477695"/>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ASEAN-FIVE </a:t>
                      </a:r>
                      <a:r>
                        <a:rPr kumimoji="0" lang="en-US" sz="1000" b="1" i="0" u="none" strike="noStrike" kern="1200" cap="none" normalizeH="0" baseline="0" noProof="0" dirty="0" err="1" smtClean="0">
                          <a:ln>
                            <a:noFill/>
                          </a:ln>
                          <a:solidFill>
                            <a:schemeClr val="accent1"/>
                          </a:solidFill>
                          <a:effectLst/>
                          <a:latin typeface="Arial"/>
                          <a:ea typeface=""/>
                          <a:cs typeface=""/>
                        </a:rPr>
                        <a:t>Sel</a:t>
                      </a:r>
                      <a:r>
                        <a:rPr kumimoji="0" lang="en-US" sz="1000" b="1" i="0" u="none" strike="noStrike" kern="1200" cap="none" normalizeH="0" baseline="0" noProof="0" dirty="0" smtClean="0">
                          <a:ln>
                            <a:noFill/>
                          </a:ln>
                          <a:solidFill>
                            <a:schemeClr val="accent1"/>
                          </a:solidFill>
                          <a:effectLst/>
                          <a:latin typeface="Arial"/>
                          <a:ea typeface=""/>
                          <a:cs typeface=""/>
                        </a:rPr>
                        <a:t> </a:t>
                      </a:r>
                      <a:r>
                        <a:rPr kumimoji="0" lang="en-US" sz="1000" b="1" i="0" u="none" strike="noStrike" kern="1200" cap="none" normalizeH="0" baseline="0" noProof="0" dirty="0" err="1" smtClean="0">
                          <a:ln>
                            <a:noFill/>
                          </a:ln>
                          <a:solidFill>
                            <a:schemeClr val="accent1"/>
                          </a:solidFill>
                          <a:effectLst/>
                          <a:latin typeface="Arial"/>
                          <a:ea typeface=""/>
                          <a:cs typeface=""/>
                        </a:rPr>
                        <a:t>Div</a:t>
                      </a:r>
                      <a:r>
                        <a:rPr kumimoji="0" lang="en-US" sz="1000" b="1" i="0" u="none" strike="noStrike" kern="1200" cap="none" normalizeH="0" baseline="0" noProof="0" dirty="0" smtClean="0">
                          <a:ln>
                            <a:noFill/>
                          </a:ln>
                          <a:solidFill>
                            <a:schemeClr val="accent1"/>
                          </a:solidFill>
                          <a:effectLst/>
                          <a:latin typeface="Arial"/>
                          <a:ea typeface=""/>
                          <a:cs typeface=""/>
                        </a:rPr>
                        <a:t> 5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Asia TM</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4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rket cap in USD </a:t>
                      </a:r>
                      <a:r>
                        <a:rPr kumimoji="0" lang="en-US" sz="1000" u="none" strike="noStrike" kern="1200" cap="none" normalizeH="0" baseline="0" noProof="0" dirty="0" err="1" smtClean="0">
                          <a:ln>
                            <a:noFill/>
                          </a:ln>
                          <a:effectLst/>
                          <a:latin typeface="Arial" panose="020B0604020202020204" pitchFamily="34" charset="0"/>
                          <a:cs typeface="Arial" panose="020B0604020202020204" pitchFamily="34" charset="0"/>
                        </a:rPr>
                        <a:t>b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57.2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85.5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6.2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6.9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1538956711"/>
              </p:ext>
            </p:extLst>
          </p:nvPr>
        </p:nvGraphicFramePr>
        <p:xfrm>
          <a:off x="5192093" y="379816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r>
                        <a:rPr kumimoji="0" lang="en-US" sz="1000" b="1" i="0" u="none" strike="noStrike" kern="1200" cap="none" normalizeH="0" baseline="0" noProof="0" dirty="0" smtClean="0">
                          <a:ln>
                            <a:noFill/>
                          </a:ln>
                          <a:solidFill>
                            <a:schemeClr val="accent2"/>
                          </a:solidFill>
                          <a:effectLst/>
                          <a:latin typeface="Arial" charset="0"/>
                          <a:ea typeface=""/>
                          <a:cs typeface=""/>
                        </a:rPr>
                        <a:t>STOXX Asia TM</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9.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4006965234"/>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ASEAN-FIVE </a:t>
                      </a:r>
                      <a:r>
                        <a:rPr kumimoji="0" lang="en-US" sz="1000" b="1" i="0" u="none" strike="noStrike" kern="1200" cap="none" normalizeH="0" baseline="0" noProof="0" dirty="0" err="1" smtClean="0">
                          <a:ln>
                            <a:noFill/>
                          </a:ln>
                          <a:solidFill>
                            <a:schemeClr val="accent1"/>
                          </a:solidFill>
                          <a:effectLst/>
                          <a:latin typeface="Arial"/>
                          <a:ea typeface=""/>
                          <a:cs typeface=""/>
                        </a:rPr>
                        <a:t>Sel</a:t>
                      </a:r>
                      <a:r>
                        <a:rPr kumimoji="0" lang="en-US" sz="1000" b="1" i="0" u="none" strike="noStrike" kern="1200" cap="none" normalizeH="0" baseline="0" noProof="0" dirty="0" smtClean="0">
                          <a:ln>
                            <a:noFill/>
                          </a:ln>
                          <a:solidFill>
                            <a:schemeClr val="accent1"/>
                          </a:solidFill>
                          <a:effectLst/>
                          <a:latin typeface="Arial"/>
                          <a:ea typeface=""/>
                          <a:cs typeface=""/>
                        </a:rPr>
                        <a:t> </a:t>
                      </a:r>
                      <a:r>
                        <a:rPr kumimoji="0" lang="en-US" sz="1000" b="1" i="0" u="none" strike="noStrike" kern="1200" cap="none" normalizeH="0" baseline="0" noProof="0" dirty="0" err="1" smtClean="0">
                          <a:ln>
                            <a:noFill/>
                          </a:ln>
                          <a:solidFill>
                            <a:schemeClr val="accent1"/>
                          </a:solidFill>
                          <a:effectLst/>
                          <a:latin typeface="Arial"/>
                          <a:ea typeface=""/>
                          <a:cs typeface=""/>
                        </a:rPr>
                        <a:t>Div</a:t>
                      </a:r>
                      <a:r>
                        <a:rPr kumimoji="0" lang="en-US" sz="1000" b="1" i="0" u="none" strike="noStrike" kern="1200" cap="none" normalizeH="0" baseline="0" noProof="0" dirty="0" smtClean="0">
                          <a:ln>
                            <a:noFill/>
                          </a:ln>
                          <a:solidFill>
                            <a:schemeClr val="accent1"/>
                          </a:solidFill>
                          <a:effectLst/>
                          <a:latin typeface="Arial"/>
                          <a:ea typeface=""/>
                          <a:cs typeface=""/>
                        </a:rPr>
                        <a:t> 5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Asia TM</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Net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2.5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9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3.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7.9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8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7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7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6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1 October 2014</a:t>
            </a: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1849937359"/>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614886459"/>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922365482"/>
              </p:ext>
            </p:extLst>
          </p:nvPr>
        </p:nvGraphicFramePr>
        <p:xfrm>
          <a:off x="365760" y="1837747"/>
          <a:ext cx="9173530" cy="4368477"/>
        </p:xfrm>
        <a:graphic>
          <a:graphicData uri="http://schemas.openxmlformats.org/drawingml/2006/table">
            <a:tbl>
              <a:tblPr>
                <a:tableStyleId>{616DA210-FB5B-4158-B5E0-FEB733F419BA}</a:tableStyleId>
              </a:tblPr>
              <a:tblGrid>
                <a:gridCol w="2272665"/>
                <a:gridCol w="1876425"/>
                <a:gridCol w="1428750"/>
                <a:gridCol w="1943100"/>
                <a:gridCol w="1652590"/>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charset="0"/>
                          <a:ea typeface="+mn-ea"/>
                          <a:cs typeface="+mn-cs"/>
                        </a:rPr>
                        <a:t>Market Cap USD </a:t>
                      </a:r>
                      <a:r>
                        <a:rPr kumimoji="0" lang="en-US" sz="1400" b="1" i="0" u="none" strike="noStrike" kern="1200" cap="none" normalizeH="0" baseline="0" noProof="0" dirty="0" err="1" smtClean="0">
                          <a:ln>
                            <a:noFill/>
                          </a:ln>
                          <a:solidFill>
                            <a:schemeClr val="bg1"/>
                          </a:solidFill>
                          <a:effectLst/>
                          <a:latin typeface="Arial" charset="0"/>
                          <a:ea typeface="+mn-ea"/>
                          <a:cs typeface="+mn-cs"/>
                        </a:rPr>
                        <a:t>bn</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DBS Group Holding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k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5.24</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9.82%</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Oversea-Chinese Banking Cor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Bank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S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4.30</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9.45%</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Singapore 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S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2.84</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88%</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United Overseas Bank</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k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2.52</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76%</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PTT</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il &amp; Ga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50</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03%</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alayan Banking</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k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Y</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80</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75%</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Keppel Corp.</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il &amp; Gas</a:t>
                      </a: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1.82</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59%</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Telekomunikasi Indonesia</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ID</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1.78</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58%</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Astra International</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Automobiles &amp; Part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ID</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1.69</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55%</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IMB Group Holdings</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k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Y</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9.88</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84%</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1 October 2014</a:t>
            </a:r>
            <a:endParaRPr lang="en-US" sz="1000" dirty="0">
              <a:solidFill>
                <a:srgbClr val="D80F5F"/>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FC8ED52E-DAC9-4081-BCB2-C3ABEE8F88A3}"/>
</file>

<file path=customXml/itemProps2.xml><?xml version="1.0" encoding="utf-8"?>
<ds:datastoreItem xmlns:ds="http://schemas.openxmlformats.org/officeDocument/2006/customXml" ds:itemID="{C4F8E9AB-85B0-450F-AC09-FE419C4E6F61}"/>
</file>

<file path=customXml/itemProps3.xml><?xml version="1.0" encoding="utf-8"?>
<ds:datastoreItem xmlns:ds="http://schemas.openxmlformats.org/officeDocument/2006/customXml" ds:itemID="{E9B048F9-8B70-45ED-9BF1-00CF9B91C20B}"/>
</file>

<file path=docProps/app.xml><?xml version="1.0" encoding="utf-8"?>
<Properties xmlns="http://schemas.openxmlformats.org/officeDocument/2006/extended-properties" xmlns:vt="http://schemas.openxmlformats.org/officeDocument/2006/docPropsVTypes">
  <Template>STOXXPresentations2.0</Template>
  <TotalTime>0</TotalTime>
  <Words>1313</Words>
  <Application>Microsoft Office PowerPoint</Application>
  <PresentationFormat>A4 Paper (210x297 mm)</PresentationFormat>
  <Paragraphs>230</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STOXX®  ASEAN-FIVE SELECT DIVIDEND 50 INDEX </vt:lpstr>
      <vt:lpstr>Agenda</vt:lpstr>
      <vt:lpstr>Investment case</vt:lpstr>
      <vt:lpstr>Investment case</vt:lpstr>
      <vt:lpstr>Methodology</vt:lpstr>
      <vt:lpstr>Risk and return overview</vt:lpstr>
      <vt:lpstr>Index fundamental characteristics and key figures</vt:lpstr>
      <vt:lpstr>Industry and 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127</cp:revision>
  <dcterms:created xsi:type="dcterms:W3CDTF">2014-05-26T13:36:56Z</dcterms:created>
  <dcterms:modified xsi:type="dcterms:W3CDTF">2014-11-11T10: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